
<file path=[Content_Types].xml><?xml version="1.0" encoding="utf-8"?>
<Types xmlns="http://schemas.openxmlformats.org/package/2006/content-types">
  <Default Extension="jpeg" ContentType="image/jpeg"/>
  <Default Extension="JPG" ContentType="image/.jpg"/>
  <Default Extension="xlsx" ContentType="application/vnd.openxmlformats-officedocument.spreadsheetml.sheet"/>
  <Default Extension="png" ContentType="image/pn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harts/chart1.xml" ContentType="application/vnd.openxmlformats-officedocument.drawingml.chart+xml"/>
  <Override PartName="/ppt/charts/colors1.xml" ContentType="application/vnd.ms-office.chartcolorstyle+xml"/>
  <Override PartName="/ppt/charts/style1.xml" ContentType="application/vnd.ms-office.chartstyle+xml"/>
  <Override PartName="/ppt/fonts/font1.fntdata" ContentType="application/x-fontdata"/>
  <Override PartName="/ppt/fonts/font10.fntdata" ContentType="application/x-fontdata"/>
  <Override PartName="/ppt/fonts/font2.fntdata" ContentType="application/x-fontdata"/>
  <Override PartName="/ppt/fonts/font3.fntdata" ContentType="application/x-fontdata"/>
  <Override PartName="/ppt/fonts/font4.fntdata" ContentType="application/x-fontdata"/>
  <Override PartName="/ppt/fonts/font5.fntdata" ContentType="application/x-fontdata"/>
  <Override PartName="/ppt/fonts/font6.fntdata" ContentType="application/x-fontdata"/>
  <Override PartName="/ppt/fonts/font7.fntdata" ContentType="application/x-fontdata"/>
  <Override PartName="/ppt/fonts/font8.fntdata" ContentType="application/x-fontdata"/>
  <Override PartName="/ppt/fonts/font9.fntdata" ContentType="application/x-fontdata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autoCompressPictures="0">
  <p:sldMasterIdLst>
    <p:sldMasterId id="2147483648" r:id="rId1"/>
  </p:sldMasterIdLst>
  <p:notesMasterIdLst>
    <p:notesMasterId r:id="rId24"/>
  </p:notesMasterIdLst>
  <p:sldIdLst>
    <p:sldId id="257" r:id="rId3"/>
    <p:sldId id="258" r:id="rId4"/>
    <p:sldId id="259" r:id="rId5"/>
    <p:sldId id="527" r:id="rId6"/>
    <p:sldId id="350" r:id="rId7"/>
    <p:sldId id="1590" r:id="rId8"/>
    <p:sldId id="260" r:id="rId9"/>
    <p:sldId id="1309" r:id="rId10"/>
    <p:sldId id="2731" r:id="rId11"/>
    <p:sldId id="2188" r:id="rId12"/>
    <p:sldId id="261" r:id="rId13"/>
    <p:sldId id="2441" r:id="rId14"/>
    <p:sldId id="741" r:id="rId15"/>
    <p:sldId id="2563" r:id="rId16"/>
    <p:sldId id="262" r:id="rId17"/>
    <p:sldId id="324" r:id="rId18"/>
    <p:sldId id="1376" r:id="rId19"/>
    <p:sldId id="470" r:id="rId20"/>
    <p:sldId id="294" r:id="rId21"/>
    <p:sldId id="263" r:id="rId22"/>
    <p:sldId id="415" r:id="rId23"/>
  </p:sldIdLst>
  <p:sldSz cx="12192000" cy="6858000"/>
  <p:notesSz cx="6858000" cy="9144000"/>
  <p:embeddedFontLst>
    <p:embeddedFont>
      <p:font typeface="汉仪正圆-55W" panose="00020600040101010101" pitchFamily="18" charset="-122"/>
      <p:regular r:id="rId28"/>
    </p:embeddedFont>
    <p:embeddedFont>
      <p:font typeface="Open Sans" pitchFamily="34" charset="0"/>
      <p:regular r:id="rId29"/>
      <p:bold r:id="rId30"/>
      <p:italic r:id="rId31"/>
      <p:boldItalic r:id="rId32"/>
    </p:embeddedFont>
    <p:embeddedFont>
      <p:font typeface="Open Sans Light" pitchFamily="34" charset="0"/>
      <p:regular r:id="rId33"/>
      <p:italic r:id="rId34"/>
    </p:embeddedFont>
    <p:embeddedFont>
      <p:font typeface="微软雅黑" panose="020B0503020204020204" charset="-122"/>
      <p:regular r:id="rId35"/>
    </p:embeddedFont>
    <p:embeddedFont>
      <p:font typeface="等线 Light" panose="02010600030101010101" charset="-122"/>
      <p:regular r:id="rId36"/>
    </p:embeddedFont>
    <p:embeddedFont>
      <p:font typeface="等线" panose="02010600030101010101" charset="-122"/>
      <p:regular r:id="rId37"/>
    </p:embeddedFont>
  </p:embeddedFont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085" autoAdjust="0"/>
    <p:restoredTop sz="94694"/>
  </p:normalViewPr>
  <p:slideViewPr>
    <p:cSldViewPr snapToGrid="0" snapToObjects="1">
      <p:cViewPr varScale="1">
        <p:scale>
          <a:sx n="107" d="100"/>
          <a:sy n="107" d="100"/>
        </p:scale>
        <p:origin x="552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7.xml"/><Relationship Id="rId8" Type="http://schemas.openxmlformats.org/officeDocument/2006/relationships/slide" Target="slides/slide6.xml"/><Relationship Id="rId7" Type="http://schemas.openxmlformats.org/officeDocument/2006/relationships/slide" Target="slides/slide5.xml"/><Relationship Id="rId6" Type="http://schemas.openxmlformats.org/officeDocument/2006/relationships/slide" Target="slides/slide4.xml"/><Relationship Id="rId5" Type="http://schemas.openxmlformats.org/officeDocument/2006/relationships/slide" Target="slides/slide3.xml"/><Relationship Id="rId4" Type="http://schemas.openxmlformats.org/officeDocument/2006/relationships/slide" Target="slides/slide2.xml"/><Relationship Id="rId37" Type="http://schemas.openxmlformats.org/officeDocument/2006/relationships/font" Target="fonts/font10.fntdata"/><Relationship Id="rId36" Type="http://schemas.openxmlformats.org/officeDocument/2006/relationships/font" Target="fonts/font9.fntdata"/><Relationship Id="rId35" Type="http://schemas.openxmlformats.org/officeDocument/2006/relationships/font" Target="fonts/font8.fntdata"/><Relationship Id="rId34" Type="http://schemas.openxmlformats.org/officeDocument/2006/relationships/font" Target="fonts/font7.fntdata"/><Relationship Id="rId33" Type="http://schemas.openxmlformats.org/officeDocument/2006/relationships/font" Target="fonts/font6.fntdata"/><Relationship Id="rId32" Type="http://schemas.openxmlformats.org/officeDocument/2006/relationships/font" Target="fonts/font5.fntdata"/><Relationship Id="rId31" Type="http://schemas.openxmlformats.org/officeDocument/2006/relationships/font" Target="fonts/font4.fntdata"/><Relationship Id="rId30" Type="http://schemas.openxmlformats.org/officeDocument/2006/relationships/font" Target="fonts/font3.fntdata"/><Relationship Id="rId3" Type="http://schemas.openxmlformats.org/officeDocument/2006/relationships/slide" Target="slides/slide1.xml"/><Relationship Id="rId29" Type="http://schemas.openxmlformats.org/officeDocument/2006/relationships/font" Target="fonts/font2.fntdata"/><Relationship Id="rId28" Type="http://schemas.openxmlformats.org/officeDocument/2006/relationships/font" Target="fonts/font1.fntdata"/><Relationship Id="rId27" Type="http://schemas.openxmlformats.org/officeDocument/2006/relationships/tableStyles" Target="tableStyles.xml"/><Relationship Id="rId26" Type="http://schemas.openxmlformats.org/officeDocument/2006/relationships/viewProps" Target="viewProps.xml"/><Relationship Id="rId25" Type="http://schemas.openxmlformats.org/officeDocument/2006/relationships/presProps" Target="presProps.xml"/><Relationship Id="rId24" Type="http://schemas.openxmlformats.org/officeDocument/2006/relationships/notesMaster" Target="notesMasters/notesMaster1.xml"/><Relationship Id="rId23" Type="http://schemas.openxmlformats.org/officeDocument/2006/relationships/slide" Target="slides/slide21.xml"/><Relationship Id="rId22" Type="http://schemas.openxmlformats.org/officeDocument/2006/relationships/slide" Target="slides/slide20.xml"/><Relationship Id="rId21" Type="http://schemas.openxmlformats.org/officeDocument/2006/relationships/slide" Target="slides/slide19.xml"/><Relationship Id="rId20" Type="http://schemas.openxmlformats.org/officeDocument/2006/relationships/slide" Target="slides/slide18.xml"/><Relationship Id="rId2" Type="http://schemas.openxmlformats.org/officeDocument/2006/relationships/theme" Target="theme/theme1.xml"/><Relationship Id="rId19" Type="http://schemas.openxmlformats.org/officeDocument/2006/relationships/slide" Target="slides/slide17.xml"/><Relationship Id="rId18" Type="http://schemas.openxmlformats.org/officeDocument/2006/relationships/slide" Target="slides/slide16.xml"/><Relationship Id="rId17" Type="http://schemas.openxmlformats.org/officeDocument/2006/relationships/slide" Target="slides/slide15.xml"/><Relationship Id="rId16" Type="http://schemas.openxmlformats.org/officeDocument/2006/relationships/slide" Target="slides/slide14.xml"/><Relationship Id="rId15" Type="http://schemas.openxmlformats.org/officeDocument/2006/relationships/slide" Target="slides/slide13.xml"/><Relationship Id="rId14" Type="http://schemas.openxmlformats.org/officeDocument/2006/relationships/slide" Target="slides/slide12.xml"/><Relationship Id="rId13" Type="http://schemas.openxmlformats.org/officeDocument/2006/relationships/slide" Target="slides/slide11.xml"/><Relationship Id="rId12" Type="http://schemas.openxmlformats.org/officeDocument/2006/relationships/slide" Target="slides/slide10.xml"/><Relationship Id="rId11" Type="http://schemas.openxmlformats.org/officeDocument/2006/relationships/slide" Target="slides/slide9.xml"/><Relationship Id="rId10" Type="http://schemas.openxmlformats.org/officeDocument/2006/relationships/slide" Target="slides/slide8.xml"/><Relationship Id="rId1" Type="http://schemas.openxmlformats.org/officeDocument/2006/relationships/slideMaster" Target="slideMasters/slideMaster1.xml"/></Relationships>
</file>

<file path=ppt/charts/_rels/chart1.xml.rels><?xml version="1.0" encoding="UTF-8" standalone="yes"?>
<Relationships xmlns="http://schemas.openxmlformats.org/package/2006/relationships"><Relationship Id="rId3" Type="http://schemas.microsoft.com/office/2011/relationships/chartColorStyle" Target="colors1.xml"/><Relationship Id="rId2" Type="http://schemas.microsoft.com/office/2011/relationships/chartStyle" Target="style1.xml"/><Relationship Id="rId1" Type="http://schemas.openxmlformats.org/officeDocument/2006/relationships/package" Target="../embeddings/Workbook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</c:f>
              <c:strCache>
                <c:ptCount val="3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3</c:v>
                </c:pt>
                <c:pt idx="1">
                  <c:v>2</c:v>
                </c:pt>
                <c:pt idx="2">
                  <c:v>2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</c:f>
              <c:strCache>
                <c:ptCount val="3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>
                  <c:v>4</c:v>
                </c:pt>
                <c:pt idx="1">
                  <c:v>5</c:v>
                </c:pt>
                <c:pt idx="2">
                  <c:v>4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</c:f>
              <c:strCache>
                <c:ptCount val="3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</c:strCache>
            </c:strRef>
          </c:cat>
          <c:val>
            <c:numRef>
              <c:f>Sheet1!$D$2:$D$4</c:f>
              <c:numCache>
                <c:formatCode>General</c:formatCode>
                <c:ptCount val="3"/>
                <c:pt idx="0">
                  <c:v>2</c:v>
                </c:pt>
                <c:pt idx="1">
                  <c:v>3</c:v>
                </c:pt>
                <c:pt idx="2">
                  <c:v>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-2115374224"/>
        <c:axId val="-2115375216"/>
      </c:barChart>
      <c:catAx>
        <c:axId val="-211537422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cs typeface="+mn-cs"/>
                <a:sym typeface="汉仪正圆-55W" panose="00020600040101010101" pitchFamily="18" charset="-122"/>
              </a:defRPr>
            </a:pPr>
          </a:p>
        </c:txPr>
        <c:crossAx val="-2115375216"/>
        <c:crosses val="autoZero"/>
        <c:auto val="1"/>
        <c:lblAlgn val="ctr"/>
        <c:lblOffset val="100"/>
        <c:noMultiLvlLbl val="0"/>
      </c:catAx>
      <c:valAx>
        <c:axId val="-2115375216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cs typeface="+mn-cs"/>
                <a:sym typeface="汉仪正圆-55W" panose="00020600040101010101" pitchFamily="18" charset="-122"/>
              </a:defRPr>
            </a:pPr>
          </a:p>
        </c:txPr>
        <c:crossAx val="-21153742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汉仪正圆-55W" panose="00020600040101010101" pitchFamily="18" charset="-122"/>
              <a:ea typeface="汉仪正圆-55W" panose="00020600040101010101" pitchFamily="18" charset="-122"/>
              <a:cs typeface="+mn-cs"/>
              <a:sym typeface="汉仪正圆-55W" panose="00020600040101010101" pitchFamily="18" charset="-122"/>
            </a:defRPr>
          </a:pPr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zh-CN">
          <a:latin typeface="汉仪正圆-55W" panose="00020600040101010101" pitchFamily="18" charset="-122"/>
          <a:ea typeface="汉仪正圆-55W" panose="00020600040101010101" pitchFamily="18" charset="-122"/>
          <a:sym typeface="汉仪正圆-55W" panose="00020600040101010101" pitchFamily="18" charset="-122"/>
        </a:defRPr>
      </a:pPr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AF73684-DEA6-4057-B32F-178075930482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83DA20-3340-47F2-8F69-CF0BF6192198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使用场景：模板中仅使用了字体，素材（图片，素材，音频），母版进行设计。</a:t>
            </a:r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kumimoji="1" lang="zh-CN" altLang="en-US"/>
              <a:t>单击此处编辑母版标题样式</a:t>
            </a:r>
            <a:endParaRPr kumimoji="1"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kumimoji="1" lang="zh-CN" altLang="en-US"/>
              <a:t>单击此处编辑母版副标题样式</a:t>
            </a:r>
            <a:endParaRPr kumimoji="1"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5B59B5-9BAE-C942-B8E0-470663D5EB2F}" type="datetimeFigureOut">
              <a:rPr/>
            </a:fld>
            <a:endParaRPr kumimoji="1"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AAF756-2E45-8B42-973C-B9218221F544}" type="slidenum">
              <a:rPr/>
            </a:fld>
            <a:endParaRPr kumimoji="1" lang="zh-CN" alt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/>
              <a:t>单击此处编辑母版标题样式</a:t>
            </a:r>
            <a:endParaRPr kumimoji="1"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kumimoji="1" lang="zh-CN" altLang="en-US"/>
              <a:t>单击此处编辑母版文本样式</a:t>
            </a:r>
            <a:endParaRPr kumimoji="1" lang="zh-CN" altLang="en-US"/>
          </a:p>
          <a:p>
            <a:pPr lvl="1"/>
            <a:r>
              <a:rPr kumimoji="1" lang="zh-CN" altLang="en-US"/>
              <a:t>二级</a:t>
            </a:r>
            <a:endParaRPr kumimoji="1" lang="zh-CN" altLang="en-US"/>
          </a:p>
          <a:p>
            <a:pPr lvl="2"/>
            <a:r>
              <a:rPr kumimoji="1" lang="zh-CN" altLang="en-US"/>
              <a:t>三级</a:t>
            </a:r>
            <a:endParaRPr kumimoji="1" lang="zh-CN" altLang="en-US"/>
          </a:p>
          <a:p>
            <a:pPr lvl="3"/>
            <a:r>
              <a:rPr kumimoji="1" lang="zh-CN" altLang="en-US"/>
              <a:t>四级</a:t>
            </a:r>
            <a:endParaRPr kumimoji="1" lang="zh-CN" altLang="en-US"/>
          </a:p>
          <a:p>
            <a:pPr lvl="4"/>
            <a:r>
              <a:rPr kumimoji="1" lang="zh-CN" altLang="en-US"/>
              <a:t>五级</a:t>
            </a:r>
            <a:endParaRPr kumimoji="1"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5B59B5-9BAE-C942-B8E0-470663D5EB2F}" type="datetimeFigureOut">
              <a:rPr/>
            </a:fld>
            <a:endParaRPr kumimoji="1"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AAF756-2E45-8B42-973C-B9218221F544}" type="slidenum">
              <a:rPr/>
            </a:fld>
            <a:endParaRPr kumimoji="1" lang="zh-CN" alt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kumimoji="1" lang="zh-CN" altLang="en-US"/>
              <a:t>单击此处编辑母版标题样式</a:t>
            </a:r>
            <a:endParaRPr kumimoji="1"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kumimoji="1" lang="zh-CN" altLang="en-US"/>
              <a:t>单击此处编辑母版文本样式</a:t>
            </a:r>
            <a:endParaRPr kumimoji="1" lang="zh-CN" altLang="en-US"/>
          </a:p>
          <a:p>
            <a:pPr lvl="1"/>
            <a:r>
              <a:rPr kumimoji="1" lang="zh-CN" altLang="en-US"/>
              <a:t>二级</a:t>
            </a:r>
            <a:endParaRPr kumimoji="1" lang="zh-CN" altLang="en-US"/>
          </a:p>
          <a:p>
            <a:pPr lvl="2"/>
            <a:r>
              <a:rPr kumimoji="1" lang="zh-CN" altLang="en-US"/>
              <a:t>三级</a:t>
            </a:r>
            <a:endParaRPr kumimoji="1" lang="zh-CN" altLang="en-US"/>
          </a:p>
          <a:p>
            <a:pPr lvl="3"/>
            <a:r>
              <a:rPr kumimoji="1" lang="zh-CN" altLang="en-US"/>
              <a:t>四级</a:t>
            </a:r>
            <a:endParaRPr kumimoji="1" lang="zh-CN" altLang="en-US"/>
          </a:p>
          <a:p>
            <a:pPr lvl="4"/>
            <a:r>
              <a:rPr kumimoji="1" lang="zh-CN" altLang="en-US"/>
              <a:t>五级</a:t>
            </a:r>
            <a:endParaRPr kumimoji="1"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5B59B5-9BAE-C942-B8E0-470663D5EB2F}" type="datetimeFigureOut">
              <a:rPr/>
            </a:fld>
            <a:endParaRPr kumimoji="1"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AAF756-2E45-8B42-973C-B9218221F544}" type="slidenum">
              <a:rPr/>
            </a:fld>
            <a:endParaRPr kumimoji="1" lang="zh-CN" alt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/>
              <a:t>单击此处编辑母版标题样式</a:t>
            </a:r>
            <a:endParaRPr kumimoji="1"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zh-CN" altLang="en-US"/>
              <a:t>单击此处编辑母版文本样式</a:t>
            </a:r>
            <a:endParaRPr kumimoji="1" lang="zh-CN" altLang="en-US"/>
          </a:p>
          <a:p>
            <a:pPr lvl="1"/>
            <a:r>
              <a:rPr kumimoji="1" lang="zh-CN" altLang="en-US"/>
              <a:t>二级</a:t>
            </a:r>
            <a:endParaRPr kumimoji="1" lang="zh-CN" altLang="en-US"/>
          </a:p>
          <a:p>
            <a:pPr lvl="2"/>
            <a:r>
              <a:rPr kumimoji="1" lang="zh-CN" altLang="en-US"/>
              <a:t>三级</a:t>
            </a:r>
            <a:endParaRPr kumimoji="1" lang="zh-CN" altLang="en-US"/>
          </a:p>
          <a:p>
            <a:pPr lvl="3"/>
            <a:r>
              <a:rPr kumimoji="1" lang="zh-CN" altLang="en-US"/>
              <a:t>四级</a:t>
            </a:r>
            <a:endParaRPr kumimoji="1" lang="zh-CN" altLang="en-US"/>
          </a:p>
          <a:p>
            <a:pPr lvl="4"/>
            <a:r>
              <a:rPr kumimoji="1" lang="zh-CN" altLang="en-US"/>
              <a:t>五级</a:t>
            </a:r>
            <a:endParaRPr kumimoji="1"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5B59B5-9BAE-C942-B8E0-470663D5EB2F}" type="datetimeFigureOut">
              <a:rPr/>
            </a:fld>
            <a:endParaRPr kumimoji="1"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AAF756-2E45-8B42-973C-B9218221F544}" type="slidenum">
              <a:rPr/>
            </a:fld>
            <a:endParaRPr kumimoji="1" lang="zh-CN" alt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kumimoji="1" lang="zh-CN" altLang="en-US"/>
              <a:t>单击此处编辑母版标题样式</a:t>
            </a:r>
            <a:endParaRPr kumimoji="1"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kumimoji="1" lang="zh-CN" altLang="en-US"/>
              <a:t>单击此处编辑母版文本样式</a:t>
            </a:r>
            <a:endParaRPr kumimoji="1"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5B59B5-9BAE-C942-B8E0-470663D5EB2F}" type="datetimeFigureOut">
              <a:rPr/>
            </a:fld>
            <a:endParaRPr kumimoji="1"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AAF756-2E45-8B42-973C-B9218221F544}" type="slidenum">
              <a:rPr/>
            </a:fld>
            <a:endParaRPr kumimoji="1" lang="zh-CN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/>
              <a:t>单击此处编辑母版标题样式</a:t>
            </a:r>
            <a:endParaRPr kumimoji="1"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kumimoji="1" lang="zh-CN" altLang="en-US"/>
              <a:t>单击此处编辑母版文本样式</a:t>
            </a:r>
            <a:endParaRPr kumimoji="1" lang="zh-CN" altLang="en-US"/>
          </a:p>
          <a:p>
            <a:pPr lvl="1"/>
            <a:r>
              <a:rPr kumimoji="1" lang="zh-CN" altLang="en-US"/>
              <a:t>二级</a:t>
            </a:r>
            <a:endParaRPr kumimoji="1" lang="zh-CN" altLang="en-US"/>
          </a:p>
          <a:p>
            <a:pPr lvl="2"/>
            <a:r>
              <a:rPr kumimoji="1" lang="zh-CN" altLang="en-US"/>
              <a:t>三级</a:t>
            </a:r>
            <a:endParaRPr kumimoji="1" lang="zh-CN" altLang="en-US"/>
          </a:p>
          <a:p>
            <a:pPr lvl="3"/>
            <a:r>
              <a:rPr kumimoji="1" lang="zh-CN" altLang="en-US"/>
              <a:t>四级</a:t>
            </a:r>
            <a:endParaRPr kumimoji="1" lang="zh-CN" altLang="en-US"/>
          </a:p>
          <a:p>
            <a:pPr lvl="4"/>
            <a:r>
              <a:rPr kumimoji="1" lang="zh-CN" altLang="en-US"/>
              <a:t>五级</a:t>
            </a:r>
            <a:endParaRPr kumimoji="1"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kumimoji="1" lang="zh-CN" altLang="en-US"/>
              <a:t>单击此处编辑母版文本样式</a:t>
            </a:r>
            <a:endParaRPr kumimoji="1" lang="zh-CN" altLang="en-US"/>
          </a:p>
          <a:p>
            <a:pPr lvl="1"/>
            <a:r>
              <a:rPr kumimoji="1" lang="zh-CN" altLang="en-US"/>
              <a:t>二级</a:t>
            </a:r>
            <a:endParaRPr kumimoji="1" lang="zh-CN" altLang="en-US"/>
          </a:p>
          <a:p>
            <a:pPr lvl="2"/>
            <a:r>
              <a:rPr kumimoji="1" lang="zh-CN" altLang="en-US"/>
              <a:t>三级</a:t>
            </a:r>
            <a:endParaRPr kumimoji="1" lang="zh-CN" altLang="en-US"/>
          </a:p>
          <a:p>
            <a:pPr lvl="3"/>
            <a:r>
              <a:rPr kumimoji="1" lang="zh-CN" altLang="en-US"/>
              <a:t>四级</a:t>
            </a:r>
            <a:endParaRPr kumimoji="1" lang="zh-CN" altLang="en-US"/>
          </a:p>
          <a:p>
            <a:pPr lvl="4"/>
            <a:r>
              <a:rPr kumimoji="1" lang="zh-CN" altLang="en-US"/>
              <a:t>五级</a:t>
            </a:r>
            <a:endParaRPr kumimoji="1"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5B59B5-9BAE-C942-B8E0-470663D5EB2F}" type="datetimeFigureOut">
              <a:rPr/>
            </a:fld>
            <a:endParaRPr kumimoji="1"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AAF756-2E45-8B42-973C-B9218221F544}" type="slidenum">
              <a:rPr/>
            </a:fld>
            <a:endParaRPr kumimoji="1"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kumimoji="1" lang="zh-CN" altLang="en-US"/>
              <a:t>单击此处编辑母版标题样式</a:t>
            </a:r>
            <a:endParaRPr kumimoji="1"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zh-CN" altLang="en-US"/>
              <a:t>单击此处编辑母版文本样式</a:t>
            </a:r>
            <a:endParaRPr kumimoji="1"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kumimoji="1" lang="zh-CN" altLang="en-US"/>
              <a:t>单击此处编辑母版文本样式</a:t>
            </a:r>
            <a:endParaRPr kumimoji="1" lang="zh-CN" altLang="en-US"/>
          </a:p>
          <a:p>
            <a:pPr lvl="1"/>
            <a:r>
              <a:rPr kumimoji="1" lang="zh-CN" altLang="en-US"/>
              <a:t>二级</a:t>
            </a:r>
            <a:endParaRPr kumimoji="1" lang="zh-CN" altLang="en-US"/>
          </a:p>
          <a:p>
            <a:pPr lvl="2"/>
            <a:r>
              <a:rPr kumimoji="1" lang="zh-CN" altLang="en-US"/>
              <a:t>三级</a:t>
            </a:r>
            <a:endParaRPr kumimoji="1" lang="zh-CN" altLang="en-US"/>
          </a:p>
          <a:p>
            <a:pPr lvl="3"/>
            <a:r>
              <a:rPr kumimoji="1" lang="zh-CN" altLang="en-US"/>
              <a:t>四级</a:t>
            </a:r>
            <a:endParaRPr kumimoji="1" lang="zh-CN" altLang="en-US"/>
          </a:p>
          <a:p>
            <a:pPr lvl="4"/>
            <a:r>
              <a:rPr kumimoji="1" lang="zh-CN" altLang="en-US"/>
              <a:t>五级</a:t>
            </a:r>
            <a:endParaRPr kumimoji="1"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zh-CN" altLang="en-US"/>
              <a:t>单击此处编辑母版文本样式</a:t>
            </a:r>
            <a:endParaRPr kumimoji="1" lang="zh-CN" altLang="en-US"/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kumimoji="1" lang="zh-CN" altLang="en-US"/>
              <a:t>单击此处编辑母版文本样式</a:t>
            </a:r>
            <a:endParaRPr kumimoji="1" lang="zh-CN" altLang="en-US"/>
          </a:p>
          <a:p>
            <a:pPr lvl="1"/>
            <a:r>
              <a:rPr kumimoji="1" lang="zh-CN" altLang="en-US"/>
              <a:t>二级</a:t>
            </a:r>
            <a:endParaRPr kumimoji="1" lang="zh-CN" altLang="en-US"/>
          </a:p>
          <a:p>
            <a:pPr lvl="2"/>
            <a:r>
              <a:rPr kumimoji="1" lang="zh-CN" altLang="en-US"/>
              <a:t>三级</a:t>
            </a:r>
            <a:endParaRPr kumimoji="1" lang="zh-CN" altLang="en-US"/>
          </a:p>
          <a:p>
            <a:pPr lvl="3"/>
            <a:r>
              <a:rPr kumimoji="1" lang="zh-CN" altLang="en-US"/>
              <a:t>四级</a:t>
            </a:r>
            <a:endParaRPr kumimoji="1" lang="zh-CN" altLang="en-US"/>
          </a:p>
          <a:p>
            <a:pPr lvl="4"/>
            <a:r>
              <a:rPr kumimoji="1" lang="zh-CN" altLang="en-US"/>
              <a:t>五级</a:t>
            </a:r>
            <a:endParaRPr kumimoji="1"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5B59B5-9BAE-C942-B8E0-470663D5EB2F}" type="datetimeFigureOut">
              <a:rPr/>
            </a:fld>
            <a:endParaRPr kumimoji="1"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AAF756-2E45-8B42-973C-B9218221F544}" type="slidenum">
              <a:rPr/>
            </a:fld>
            <a:endParaRPr kumimoji="1" lang="zh-CN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/>
              <a:t>单击此处编辑母版标题样式</a:t>
            </a:r>
            <a:endParaRPr kumimoji="1"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5B59B5-9BAE-C942-B8E0-470663D5EB2F}" type="datetimeFigureOut">
              <a:rPr/>
            </a:fld>
            <a:endParaRPr kumimoji="1"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AAF756-2E45-8B42-973C-B9218221F544}" type="slidenum">
              <a:rPr/>
            </a:fld>
            <a:endParaRPr kumimoji="1" lang="zh-CN" alt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5B59B5-9BAE-C942-B8E0-470663D5EB2F}" type="datetimeFigureOut">
              <a:rPr/>
            </a:fld>
            <a:endParaRPr kumimoji="1"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AAF756-2E45-8B42-973C-B9218221F544}" type="slidenum">
              <a:rPr/>
            </a:fld>
            <a:endParaRPr kumimoji="1" lang="zh-CN" alt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zh-CN" altLang="en-US"/>
              <a:t>单击此处编辑母版标题样式</a:t>
            </a:r>
            <a:endParaRPr kumimoji="1"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kumimoji="1" lang="zh-CN" altLang="en-US"/>
              <a:t>单击此处编辑母版文本样式</a:t>
            </a:r>
            <a:endParaRPr kumimoji="1" lang="zh-CN" altLang="en-US"/>
          </a:p>
          <a:p>
            <a:pPr lvl="1"/>
            <a:r>
              <a:rPr kumimoji="1" lang="zh-CN" altLang="en-US"/>
              <a:t>二级</a:t>
            </a:r>
            <a:endParaRPr kumimoji="1" lang="zh-CN" altLang="en-US"/>
          </a:p>
          <a:p>
            <a:pPr lvl="2"/>
            <a:r>
              <a:rPr kumimoji="1" lang="zh-CN" altLang="en-US"/>
              <a:t>三级</a:t>
            </a:r>
            <a:endParaRPr kumimoji="1" lang="zh-CN" altLang="en-US"/>
          </a:p>
          <a:p>
            <a:pPr lvl="3"/>
            <a:r>
              <a:rPr kumimoji="1" lang="zh-CN" altLang="en-US"/>
              <a:t>四级</a:t>
            </a:r>
            <a:endParaRPr kumimoji="1" lang="zh-CN" altLang="en-US"/>
          </a:p>
          <a:p>
            <a:pPr lvl="4"/>
            <a:r>
              <a:rPr kumimoji="1" lang="zh-CN" altLang="en-US"/>
              <a:t>五级</a:t>
            </a:r>
            <a:endParaRPr kumimoji="1"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zh-CN" altLang="en-US"/>
              <a:t>单击此处编辑母版文本样式</a:t>
            </a:r>
            <a:endParaRPr kumimoji="1"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5B59B5-9BAE-C942-B8E0-470663D5EB2F}" type="datetimeFigureOut">
              <a:rPr/>
            </a:fld>
            <a:endParaRPr kumimoji="1"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AAF756-2E45-8B42-973C-B9218221F544}" type="slidenum">
              <a:rPr/>
            </a:fld>
            <a:endParaRPr kumimoji="1" lang="zh-CN" alt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zh-CN" altLang="en-US"/>
              <a:t>单击此处编辑母版标题样式</a:t>
            </a:r>
            <a:endParaRPr kumimoji="1"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kumimoji="1"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zh-CN" altLang="en-US"/>
              <a:t>单击此处编辑母版文本样式</a:t>
            </a:r>
            <a:endParaRPr kumimoji="1"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5B59B5-9BAE-C942-B8E0-470663D5EB2F}" type="datetimeFigureOut">
              <a:rPr/>
            </a:fld>
            <a:endParaRPr kumimoji="1"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AAF756-2E45-8B42-973C-B9218221F544}" type="slidenum">
              <a:rPr/>
            </a:fld>
            <a:endParaRPr kumimoji="1" lang="zh-CN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2" Type="http://schemas.openxmlformats.org/officeDocument/2006/relationships/theme" Target="../theme/theme1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zh-CN" altLang="en-US"/>
              <a:t>单击此处编辑母版标题样式</a:t>
            </a:r>
            <a:endParaRPr kumimoji="1"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zh-CN" altLang="en-US"/>
              <a:t>单击此处编辑母版文本样式</a:t>
            </a:r>
            <a:endParaRPr kumimoji="1" lang="zh-CN" altLang="en-US"/>
          </a:p>
          <a:p>
            <a:pPr lvl="1"/>
            <a:r>
              <a:rPr kumimoji="1" lang="zh-CN" altLang="en-US"/>
              <a:t>二级</a:t>
            </a:r>
            <a:endParaRPr kumimoji="1" lang="zh-CN" altLang="en-US"/>
          </a:p>
          <a:p>
            <a:pPr lvl="2"/>
            <a:r>
              <a:rPr kumimoji="1" lang="zh-CN" altLang="en-US"/>
              <a:t>三级</a:t>
            </a:r>
            <a:endParaRPr kumimoji="1" lang="zh-CN" altLang="en-US"/>
          </a:p>
          <a:p>
            <a:pPr lvl="3"/>
            <a:r>
              <a:rPr kumimoji="1" lang="zh-CN" altLang="en-US"/>
              <a:t>四级</a:t>
            </a:r>
            <a:endParaRPr kumimoji="1" lang="zh-CN" altLang="en-US"/>
          </a:p>
          <a:p>
            <a:pPr lvl="4"/>
            <a:r>
              <a:rPr kumimoji="1" lang="zh-CN" altLang="en-US"/>
              <a:t>五级</a:t>
            </a:r>
            <a:endParaRPr kumimoji="1"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A5B59B5-9BAE-C942-B8E0-470663D5EB2F}" type="datetimeFigureOut">
              <a:rPr/>
            </a:fld>
            <a:endParaRPr kumimoji="1"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AAAF756-2E45-8B42-973C-B9218221F544}" type="slidenum">
              <a:rPr/>
            </a:fld>
            <a:endParaRPr kumimoji="1"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image" Target="../media/image11.jpeg"/></Relationships>
</file>

<file path=ppt/slides/_rels/slide12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7.xml"/><Relationship Id="rId3" Type="http://schemas.openxmlformats.org/officeDocument/2006/relationships/image" Target="../media/image14.jpeg"/><Relationship Id="rId2" Type="http://schemas.openxmlformats.org/officeDocument/2006/relationships/image" Target="../media/image13.jpeg"/><Relationship Id="rId1" Type="http://schemas.openxmlformats.org/officeDocument/2006/relationships/image" Target="../media/image12.jpe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image" Target="../media/image15.jpe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chart" Target="../charts/char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16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image" Target="../media/image1.jpe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7.xml"/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image" Target="../media/image2.jpe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image" Target="../media/image5.jpe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image" Target="../media/image6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image" Target="../media/image8.jpeg"/><Relationship Id="rId1" Type="http://schemas.openxmlformats.org/officeDocument/2006/relationships/image" Target="../media/image7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image" Target="../media/image10.jpeg"/><Relationship Id="rId1" Type="http://schemas.openxmlformats.org/officeDocument/2006/relationships/image" Target="../media/image9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深度视觉·原创设计 https://www.docer.com/works?userid=22383862"/>
          <p:cNvSpPr/>
          <p:nvPr/>
        </p:nvSpPr>
        <p:spPr>
          <a:xfrm flipH="1">
            <a:off x="9677400" y="4533899"/>
            <a:ext cx="2514600" cy="2324101"/>
          </a:xfrm>
          <a:prstGeom prst="corner">
            <a:avLst>
              <a:gd name="adj1" fmla="val 17397"/>
              <a:gd name="adj2" fmla="val 16614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3" name="深度视觉·原创设计 https://www.docer.com/works?userid=22383862"/>
          <p:cNvSpPr/>
          <p:nvPr/>
        </p:nvSpPr>
        <p:spPr>
          <a:xfrm rot="10800000" flipH="1">
            <a:off x="0" y="0"/>
            <a:ext cx="2514600" cy="2324101"/>
          </a:xfrm>
          <a:prstGeom prst="corner">
            <a:avLst>
              <a:gd name="adj1" fmla="val 17397"/>
              <a:gd name="adj2" fmla="val 16614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5" name="深度视觉·原创设计 https://www.docer.com/works?userid=22383862"/>
          <p:cNvSpPr/>
          <p:nvPr/>
        </p:nvSpPr>
        <p:spPr>
          <a:xfrm>
            <a:off x="682170" y="674280"/>
            <a:ext cx="10827660" cy="55094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6" name="深度视觉·原创设计 https://www.docer.com/works?userid=22383862"/>
          <p:cNvSpPr/>
          <p:nvPr/>
        </p:nvSpPr>
        <p:spPr>
          <a:xfrm>
            <a:off x="2623127" y="3580209"/>
            <a:ext cx="6945746" cy="338553"/>
          </a:xfrm>
          <a:prstGeom prst="roundRect">
            <a:avLst>
              <a:gd name="adj" fmla="val 2593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7" name="深度视觉·原创设计 https://www.docer.com/works?userid=22383862"/>
          <p:cNvSpPr txBox="1"/>
          <p:nvPr/>
        </p:nvSpPr>
        <p:spPr>
          <a:xfrm>
            <a:off x="1524000" y="2095960"/>
            <a:ext cx="91440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7200" b="1">
                <a:solidFill>
                  <a:schemeClr val="tx1">
                    <a:lumMod val="75000"/>
                    <a:lumOff val="25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工作总结汇报</a:t>
            </a:r>
            <a:endParaRPr lang="zh-CN" altLang="en-US" sz="7200" b="1" dirty="0">
              <a:solidFill>
                <a:schemeClr val="tx1">
                  <a:lumMod val="75000"/>
                  <a:lumOff val="25000"/>
                </a:schemeClr>
              </a:solidFill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8" name="深度视觉·原创设计 https://www.docer.com/works?userid=22383862"/>
          <p:cNvSpPr txBox="1"/>
          <p:nvPr/>
        </p:nvSpPr>
        <p:spPr>
          <a:xfrm>
            <a:off x="2935710" y="4261677"/>
            <a:ext cx="6320580" cy="53091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  <a:scene3d>
              <a:camera prst="orthographicFront"/>
              <a:lightRig rig="threePt" dir="t"/>
            </a:scene3d>
            <a:sp3d contourW="12700"/>
          </a:bodyPr>
          <a:lstStyle/>
          <a:p>
            <a:pPr algn="ctr">
              <a:lnSpc>
                <a:spcPct val="150000"/>
              </a:lnSpc>
            </a:pPr>
            <a:r>
              <a:rPr lang="en-US" altLang="zh-CN" sz="1200" dirty="0">
                <a:solidFill>
                  <a:schemeClr val="bg1">
                    <a:lumMod val="50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Type your content here, either by copying your text, or by text, Type your content here, either by copying your text, or by copying after the text, </a:t>
            </a:r>
            <a:endParaRPr lang="zh-CN" altLang="en-US" sz="1200" dirty="0">
              <a:solidFill>
                <a:schemeClr val="bg1">
                  <a:lumMod val="50000"/>
                </a:schemeClr>
              </a:solidFill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9" name="深度视觉·原创设计 https://www.docer.com/works?userid=22383862"/>
          <p:cNvSpPr txBox="1"/>
          <p:nvPr/>
        </p:nvSpPr>
        <p:spPr>
          <a:xfrm>
            <a:off x="3761418" y="3580208"/>
            <a:ext cx="466916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en-US" altLang="zh-CN" sz="1600">
                <a:solidFill>
                  <a:schemeClr val="bg1"/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cs typeface="阿里巴巴普惠体 Light" panose="00020600040101010101" pitchFamily="18" charset="-122"/>
                <a:sym typeface="汉仪正圆-55W" panose="00020600040101010101" pitchFamily="18" charset="-122"/>
              </a:rPr>
              <a:t>WORK REPORT</a:t>
            </a:r>
            <a:endParaRPr lang="zh-CN" altLang="en-US" sz="1600" dirty="0">
              <a:solidFill>
                <a:schemeClr val="bg1"/>
              </a:solidFill>
              <a:latin typeface="汉仪正圆-55W" panose="00020600040101010101" pitchFamily="18" charset="-122"/>
              <a:ea typeface="汉仪正圆-55W" panose="00020600040101010101" pitchFamily="18" charset="-122"/>
              <a:cs typeface="阿里巴巴普惠体 Light" panose="00020600040101010101" pitchFamily="18" charset="-122"/>
              <a:sym typeface="汉仪正圆-55W" panose="00020600040101010101" pitchFamily="18" charset="-122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深度视觉·原创设计 https://www.docer.com/works?userid=22383862"/>
          <p:cNvSpPr/>
          <p:nvPr/>
        </p:nvSpPr>
        <p:spPr>
          <a:xfrm flipH="1">
            <a:off x="11252019" y="5989229"/>
            <a:ext cx="939981" cy="868771"/>
          </a:xfrm>
          <a:prstGeom prst="corner">
            <a:avLst>
              <a:gd name="adj1" fmla="val 17397"/>
              <a:gd name="adj2" fmla="val 16614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39" name="深度视觉·原创设计 https://www.docer.com/works?userid=22383862"/>
          <p:cNvSpPr/>
          <p:nvPr/>
        </p:nvSpPr>
        <p:spPr>
          <a:xfrm rot="10800000" flipH="1">
            <a:off x="0" y="0"/>
            <a:ext cx="939981" cy="868771"/>
          </a:xfrm>
          <a:prstGeom prst="corner">
            <a:avLst>
              <a:gd name="adj1" fmla="val 17397"/>
              <a:gd name="adj2" fmla="val 16614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40" name="深度视觉·原创设计 https://www.docer.com/works?userid=22383862"/>
          <p:cNvSpPr/>
          <p:nvPr/>
        </p:nvSpPr>
        <p:spPr>
          <a:xfrm>
            <a:off x="4535714" y="350796"/>
            <a:ext cx="3120572" cy="51797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41" name="深度视觉·原创设计 https://www.docer.com/works?userid=22383862"/>
          <p:cNvSpPr txBox="1"/>
          <p:nvPr/>
        </p:nvSpPr>
        <p:spPr>
          <a:xfrm>
            <a:off x="4966459" y="455895"/>
            <a:ext cx="2259081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2000" spc="300" dirty="0">
                <a:solidFill>
                  <a:schemeClr val="tx1">
                    <a:lumMod val="75000"/>
                    <a:lumOff val="25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cs typeface="Alibaba PuHuiTi" pitchFamily="18" charset="-122"/>
                <a:sym typeface="汉仪正圆-55W" panose="00020600040101010101" pitchFamily="18" charset="-122"/>
              </a:rPr>
              <a:t>输入您的标题</a:t>
            </a:r>
            <a:endParaRPr kumimoji="0" lang="zh-CN" altLang="en-US" sz="2000" i="0" u="none" strike="noStrike" kern="1200" cap="none" spc="30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汉仪正圆-55W" panose="00020600040101010101" pitchFamily="18" charset="-122"/>
              <a:ea typeface="汉仪正圆-55W" panose="00020600040101010101" pitchFamily="18" charset="-122"/>
              <a:cs typeface="Alibaba PuHuiTi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2" name="深度视觉·原创设计 https://www.docer.com/works?userid=22383862"/>
          <p:cNvSpPr/>
          <p:nvPr/>
        </p:nvSpPr>
        <p:spPr bwMode="auto">
          <a:xfrm>
            <a:off x="4167188" y="1906061"/>
            <a:ext cx="1930400" cy="1974850"/>
          </a:xfrm>
          <a:custGeom>
            <a:avLst/>
            <a:gdLst>
              <a:gd name="T0" fmla="*/ 509 w 640"/>
              <a:gd name="T1" fmla="*/ 645 h 655"/>
              <a:gd name="T2" fmla="*/ 640 w 640"/>
              <a:gd name="T3" fmla="*/ 514 h 655"/>
              <a:gd name="T4" fmla="*/ 640 w 640"/>
              <a:gd name="T5" fmla="*/ 0 h 655"/>
              <a:gd name="T6" fmla="*/ 555 w 640"/>
              <a:gd name="T7" fmla="*/ 0 h 655"/>
              <a:gd name="T8" fmla="*/ 527 w 640"/>
              <a:gd name="T9" fmla="*/ 130 h 655"/>
              <a:gd name="T10" fmla="*/ 427 w 640"/>
              <a:gd name="T11" fmla="*/ 163 h 655"/>
              <a:gd name="T12" fmla="*/ 328 w 640"/>
              <a:gd name="T13" fmla="*/ 74 h 655"/>
              <a:gd name="T14" fmla="*/ 192 w 640"/>
              <a:gd name="T15" fmla="*/ 174 h 655"/>
              <a:gd name="T16" fmla="*/ 246 w 640"/>
              <a:gd name="T17" fmla="*/ 295 h 655"/>
              <a:gd name="T18" fmla="*/ 184 w 640"/>
              <a:gd name="T19" fmla="*/ 380 h 655"/>
              <a:gd name="T20" fmla="*/ 52 w 640"/>
              <a:gd name="T21" fmla="*/ 367 h 655"/>
              <a:gd name="T22" fmla="*/ 0 w 640"/>
              <a:gd name="T23" fmla="*/ 528 h 655"/>
              <a:gd name="T24" fmla="*/ 115 w 640"/>
              <a:gd name="T25" fmla="*/ 594 h 655"/>
              <a:gd name="T26" fmla="*/ 113 w 640"/>
              <a:gd name="T27" fmla="*/ 655 h 655"/>
              <a:gd name="T28" fmla="*/ 509 w 640"/>
              <a:gd name="T29" fmla="*/ 655 h 655"/>
              <a:gd name="T30" fmla="*/ 509 w 640"/>
              <a:gd name="T31" fmla="*/ 645 h 6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640" h="655">
                <a:moveTo>
                  <a:pt x="509" y="645"/>
                </a:moveTo>
                <a:cubicBezTo>
                  <a:pt x="509" y="573"/>
                  <a:pt x="568" y="514"/>
                  <a:pt x="640" y="514"/>
                </a:cubicBezTo>
                <a:cubicBezTo>
                  <a:pt x="640" y="0"/>
                  <a:pt x="640" y="0"/>
                  <a:pt x="640" y="0"/>
                </a:cubicBezTo>
                <a:cubicBezTo>
                  <a:pt x="555" y="0"/>
                  <a:pt x="555" y="0"/>
                  <a:pt x="555" y="0"/>
                </a:cubicBezTo>
                <a:cubicBezTo>
                  <a:pt x="527" y="130"/>
                  <a:pt x="527" y="130"/>
                  <a:pt x="527" y="130"/>
                </a:cubicBezTo>
                <a:cubicBezTo>
                  <a:pt x="493" y="138"/>
                  <a:pt x="459" y="149"/>
                  <a:pt x="427" y="163"/>
                </a:cubicBezTo>
                <a:cubicBezTo>
                  <a:pt x="328" y="74"/>
                  <a:pt x="328" y="74"/>
                  <a:pt x="328" y="74"/>
                </a:cubicBezTo>
                <a:cubicBezTo>
                  <a:pt x="192" y="174"/>
                  <a:pt x="192" y="174"/>
                  <a:pt x="192" y="174"/>
                </a:cubicBezTo>
                <a:cubicBezTo>
                  <a:pt x="246" y="295"/>
                  <a:pt x="246" y="295"/>
                  <a:pt x="246" y="295"/>
                </a:cubicBezTo>
                <a:cubicBezTo>
                  <a:pt x="223" y="321"/>
                  <a:pt x="202" y="349"/>
                  <a:pt x="184" y="380"/>
                </a:cubicBezTo>
                <a:cubicBezTo>
                  <a:pt x="52" y="367"/>
                  <a:pt x="52" y="367"/>
                  <a:pt x="52" y="367"/>
                </a:cubicBezTo>
                <a:cubicBezTo>
                  <a:pt x="0" y="528"/>
                  <a:pt x="0" y="528"/>
                  <a:pt x="0" y="528"/>
                </a:cubicBezTo>
                <a:cubicBezTo>
                  <a:pt x="115" y="594"/>
                  <a:pt x="115" y="594"/>
                  <a:pt x="115" y="594"/>
                </a:cubicBezTo>
                <a:cubicBezTo>
                  <a:pt x="113" y="614"/>
                  <a:pt x="112" y="635"/>
                  <a:pt x="113" y="655"/>
                </a:cubicBezTo>
                <a:cubicBezTo>
                  <a:pt x="509" y="655"/>
                  <a:pt x="509" y="655"/>
                  <a:pt x="509" y="655"/>
                </a:cubicBezTo>
                <a:cubicBezTo>
                  <a:pt x="509" y="652"/>
                  <a:pt x="509" y="649"/>
                  <a:pt x="509" y="645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3" name="深度视觉·原创设计 https://www.docer.com/works?userid=22383862"/>
          <p:cNvSpPr/>
          <p:nvPr/>
        </p:nvSpPr>
        <p:spPr bwMode="auto">
          <a:xfrm>
            <a:off x="6097588" y="1906061"/>
            <a:ext cx="1930400" cy="1974850"/>
          </a:xfrm>
          <a:custGeom>
            <a:avLst/>
            <a:gdLst>
              <a:gd name="T0" fmla="*/ 132 w 640"/>
              <a:gd name="T1" fmla="*/ 645 h 655"/>
              <a:gd name="T2" fmla="*/ 132 w 640"/>
              <a:gd name="T3" fmla="*/ 655 h 655"/>
              <a:gd name="T4" fmla="*/ 528 w 640"/>
              <a:gd name="T5" fmla="*/ 655 h 655"/>
              <a:gd name="T6" fmla="*/ 525 w 640"/>
              <a:gd name="T7" fmla="*/ 592 h 655"/>
              <a:gd name="T8" fmla="*/ 640 w 640"/>
              <a:gd name="T9" fmla="*/ 525 h 655"/>
              <a:gd name="T10" fmla="*/ 588 w 640"/>
              <a:gd name="T11" fmla="*/ 364 h 655"/>
              <a:gd name="T12" fmla="*/ 455 w 640"/>
              <a:gd name="T13" fmla="*/ 378 h 655"/>
              <a:gd name="T14" fmla="*/ 394 w 640"/>
              <a:gd name="T15" fmla="*/ 294 h 655"/>
              <a:gd name="T16" fmla="*/ 447 w 640"/>
              <a:gd name="T17" fmla="*/ 172 h 655"/>
              <a:gd name="T18" fmla="*/ 310 w 640"/>
              <a:gd name="T19" fmla="*/ 73 h 655"/>
              <a:gd name="T20" fmla="*/ 212 w 640"/>
              <a:gd name="T21" fmla="*/ 162 h 655"/>
              <a:gd name="T22" fmla="*/ 162 w 640"/>
              <a:gd name="T23" fmla="*/ 143 h 655"/>
              <a:gd name="T24" fmla="*/ 112 w 640"/>
              <a:gd name="T25" fmla="*/ 130 h 655"/>
              <a:gd name="T26" fmla="*/ 84 w 640"/>
              <a:gd name="T27" fmla="*/ 0 h 655"/>
              <a:gd name="T28" fmla="*/ 0 w 640"/>
              <a:gd name="T29" fmla="*/ 0 h 655"/>
              <a:gd name="T30" fmla="*/ 0 w 640"/>
              <a:gd name="T31" fmla="*/ 514 h 655"/>
              <a:gd name="T32" fmla="*/ 132 w 640"/>
              <a:gd name="T33" fmla="*/ 645 h 6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640" h="655">
                <a:moveTo>
                  <a:pt x="132" y="645"/>
                </a:moveTo>
                <a:cubicBezTo>
                  <a:pt x="132" y="649"/>
                  <a:pt x="132" y="652"/>
                  <a:pt x="132" y="655"/>
                </a:cubicBezTo>
                <a:cubicBezTo>
                  <a:pt x="528" y="655"/>
                  <a:pt x="528" y="655"/>
                  <a:pt x="528" y="655"/>
                </a:cubicBezTo>
                <a:cubicBezTo>
                  <a:pt x="528" y="634"/>
                  <a:pt x="528" y="613"/>
                  <a:pt x="525" y="592"/>
                </a:cubicBezTo>
                <a:cubicBezTo>
                  <a:pt x="640" y="525"/>
                  <a:pt x="640" y="525"/>
                  <a:pt x="640" y="525"/>
                </a:cubicBezTo>
                <a:cubicBezTo>
                  <a:pt x="588" y="364"/>
                  <a:pt x="588" y="364"/>
                  <a:pt x="588" y="364"/>
                </a:cubicBezTo>
                <a:cubicBezTo>
                  <a:pt x="455" y="378"/>
                  <a:pt x="455" y="378"/>
                  <a:pt x="455" y="378"/>
                </a:cubicBezTo>
                <a:cubicBezTo>
                  <a:pt x="438" y="348"/>
                  <a:pt x="417" y="320"/>
                  <a:pt x="394" y="294"/>
                </a:cubicBezTo>
                <a:cubicBezTo>
                  <a:pt x="447" y="172"/>
                  <a:pt x="447" y="172"/>
                  <a:pt x="447" y="172"/>
                </a:cubicBezTo>
                <a:cubicBezTo>
                  <a:pt x="310" y="73"/>
                  <a:pt x="310" y="73"/>
                  <a:pt x="310" y="73"/>
                </a:cubicBezTo>
                <a:cubicBezTo>
                  <a:pt x="212" y="162"/>
                  <a:pt x="212" y="162"/>
                  <a:pt x="212" y="162"/>
                </a:cubicBezTo>
                <a:cubicBezTo>
                  <a:pt x="196" y="155"/>
                  <a:pt x="179" y="149"/>
                  <a:pt x="162" y="143"/>
                </a:cubicBezTo>
                <a:cubicBezTo>
                  <a:pt x="146" y="138"/>
                  <a:pt x="129" y="133"/>
                  <a:pt x="112" y="130"/>
                </a:cubicBezTo>
                <a:cubicBezTo>
                  <a:pt x="84" y="0"/>
                  <a:pt x="84" y="0"/>
                  <a:pt x="84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514"/>
                  <a:pt x="0" y="514"/>
                  <a:pt x="0" y="514"/>
                </a:cubicBezTo>
                <a:cubicBezTo>
                  <a:pt x="73" y="514"/>
                  <a:pt x="132" y="573"/>
                  <a:pt x="132" y="645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4" name="深度视觉·原创设计 https://www.docer.com/works?userid=22383862"/>
          <p:cNvSpPr/>
          <p:nvPr/>
        </p:nvSpPr>
        <p:spPr bwMode="auto">
          <a:xfrm>
            <a:off x="6097588" y="3880911"/>
            <a:ext cx="1933575" cy="1917700"/>
          </a:xfrm>
          <a:custGeom>
            <a:avLst/>
            <a:gdLst>
              <a:gd name="T0" fmla="*/ 528 w 641"/>
              <a:gd name="T1" fmla="*/ 0 h 636"/>
              <a:gd name="T2" fmla="*/ 132 w 641"/>
              <a:gd name="T3" fmla="*/ 0 h 636"/>
              <a:gd name="T4" fmla="*/ 0 w 641"/>
              <a:gd name="T5" fmla="*/ 122 h 636"/>
              <a:gd name="T6" fmla="*/ 0 w 641"/>
              <a:gd name="T7" fmla="*/ 636 h 636"/>
              <a:gd name="T8" fmla="*/ 86 w 641"/>
              <a:gd name="T9" fmla="*/ 636 h 636"/>
              <a:gd name="T10" fmla="*/ 114 w 641"/>
              <a:gd name="T11" fmla="*/ 506 h 636"/>
              <a:gd name="T12" fmla="*/ 213 w 641"/>
              <a:gd name="T13" fmla="*/ 473 h 636"/>
              <a:gd name="T14" fmla="*/ 312 w 641"/>
              <a:gd name="T15" fmla="*/ 562 h 636"/>
              <a:gd name="T16" fmla="*/ 449 w 641"/>
              <a:gd name="T17" fmla="*/ 462 h 636"/>
              <a:gd name="T18" fmla="*/ 395 w 641"/>
              <a:gd name="T19" fmla="*/ 341 h 636"/>
              <a:gd name="T20" fmla="*/ 456 w 641"/>
              <a:gd name="T21" fmla="*/ 256 h 636"/>
              <a:gd name="T22" fmla="*/ 589 w 641"/>
              <a:gd name="T23" fmla="*/ 269 h 636"/>
              <a:gd name="T24" fmla="*/ 641 w 641"/>
              <a:gd name="T25" fmla="*/ 108 h 636"/>
              <a:gd name="T26" fmla="*/ 525 w 641"/>
              <a:gd name="T27" fmla="*/ 42 h 636"/>
              <a:gd name="T28" fmla="*/ 528 w 641"/>
              <a:gd name="T29" fmla="*/ 0 h 6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641" h="636">
                <a:moveTo>
                  <a:pt x="528" y="0"/>
                </a:moveTo>
                <a:cubicBezTo>
                  <a:pt x="132" y="0"/>
                  <a:pt x="132" y="0"/>
                  <a:pt x="132" y="0"/>
                </a:cubicBezTo>
                <a:cubicBezTo>
                  <a:pt x="127" y="68"/>
                  <a:pt x="70" y="122"/>
                  <a:pt x="0" y="122"/>
                </a:cubicBezTo>
                <a:cubicBezTo>
                  <a:pt x="0" y="636"/>
                  <a:pt x="0" y="636"/>
                  <a:pt x="0" y="636"/>
                </a:cubicBezTo>
                <a:cubicBezTo>
                  <a:pt x="86" y="636"/>
                  <a:pt x="86" y="636"/>
                  <a:pt x="86" y="636"/>
                </a:cubicBezTo>
                <a:cubicBezTo>
                  <a:pt x="114" y="506"/>
                  <a:pt x="114" y="506"/>
                  <a:pt x="114" y="506"/>
                </a:cubicBezTo>
                <a:cubicBezTo>
                  <a:pt x="148" y="498"/>
                  <a:pt x="181" y="487"/>
                  <a:pt x="213" y="473"/>
                </a:cubicBezTo>
                <a:cubicBezTo>
                  <a:pt x="312" y="562"/>
                  <a:pt x="312" y="562"/>
                  <a:pt x="312" y="562"/>
                </a:cubicBezTo>
                <a:cubicBezTo>
                  <a:pt x="449" y="462"/>
                  <a:pt x="449" y="462"/>
                  <a:pt x="449" y="462"/>
                </a:cubicBezTo>
                <a:cubicBezTo>
                  <a:pt x="395" y="341"/>
                  <a:pt x="395" y="341"/>
                  <a:pt x="395" y="341"/>
                </a:cubicBezTo>
                <a:cubicBezTo>
                  <a:pt x="418" y="315"/>
                  <a:pt x="439" y="286"/>
                  <a:pt x="456" y="256"/>
                </a:cubicBezTo>
                <a:cubicBezTo>
                  <a:pt x="589" y="269"/>
                  <a:pt x="589" y="269"/>
                  <a:pt x="589" y="269"/>
                </a:cubicBezTo>
                <a:cubicBezTo>
                  <a:pt x="641" y="108"/>
                  <a:pt x="641" y="108"/>
                  <a:pt x="641" y="108"/>
                </a:cubicBezTo>
                <a:cubicBezTo>
                  <a:pt x="525" y="42"/>
                  <a:pt x="525" y="42"/>
                  <a:pt x="525" y="42"/>
                </a:cubicBezTo>
                <a:cubicBezTo>
                  <a:pt x="527" y="28"/>
                  <a:pt x="528" y="14"/>
                  <a:pt x="528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5" name="深度视觉·原创设计 https://www.docer.com/works?userid=22383862"/>
          <p:cNvSpPr/>
          <p:nvPr/>
        </p:nvSpPr>
        <p:spPr bwMode="auto">
          <a:xfrm>
            <a:off x="4170363" y="3880911"/>
            <a:ext cx="1927225" cy="1917700"/>
          </a:xfrm>
          <a:custGeom>
            <a:avLst/>
            <a:gdLst>
              <a:gd name="T0" fmla="*/ 508 w 639"/>
              <a:gd name="T1" fmla="*/ 0 h 636"/>
              <a:gd name="T2" fmla="*/ 112 w 639"/>
              <a:gd name="T3" fmla="*/ 0 h 636"/>
              <a:gd name="T4" fmla="*/ 114 w 639"/>
              <a:gd name="T5" fmla="*/ 44 h 636"/>
              <a:gd name="T6" fmla="*/ 0 w 639"/>
              <a:gd name="T7" fmla="*/ 111 h 636"/>
              <a:gd name="T8" fmla="*/ 52 w 639"/>
              <a:gd name="T9" fmla="*/ 271 h 636"/>
              <a:gd name="T10" fmla="*/ 184 w 639"/>
              <a:gd name="T11" fmla="*/ 257 h 636"/>
              <a:gd name="T12" fmla="*/ 246 w 639"/>
              <a:gd name="T13" fmla="*/ 342 h 636"/>
              <a:gd name="T14" fmla="*/ 192 w 639"/>
              <a:gd name="T15" fmla="*/ 464 h 636"/>
              <a:gd name="T16" fmla="*/ 329 w 639"/>
              <a:gd name="T17" fmla="*/ 563 h 636"/>
              <a:gd name="T18" fmla="*/ 428 w 639"/>
              <a:gd name="T19" fmla="*/ 474 h 636"/>
              <a:gd name="T20" fmla="*/ 477 w 639"/>
              <a:gd name="T21" fmla="*/ 492 h 636"/>
              <a:gd name="T22" fmla="*/ 528 w 639"/>
              <a:gd name="T23" fmla="*/ 506 h 636"/>
              <a:gd name="T24" fmla="*/ 556 w 639"/>
              <a:gd name="T25" fmla="*/ 636 h 636"/>
              <a:gd name="T26" fmla="*/ 639 w 639"/>
              <a:gd name="T27" fmla="*/ 636 h 636"/>
              <a:gd name="T28" fmla="*/ 639 w 639"/>
              <a:gd name="T29" fmla="*/ 122 h 636"/>
              <a:gd name="T30" fmla="*/ 508 w 639"/>
              <a:gd name="T31" fmla="*/ 0 h 6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639" h="636">
                <a:moveTo>
                  <a:pt x="508" y="0"/>
                </a:moveTo>
                <a:cubicBezTo>
                  <a:pt x="112" y="0"/>
                  <a:pt x="112" y="0"/>
                  <a:pt x="112" y="0"/>
                </a:cubicBezTo>
                <a:cubicBezTo>
                  <a:pt x="112" y="14"/>
                  <a:pt x="113" y="29"/>
                  <a:pt x="114" y="44"/>
                </a:cubicBezTo>
                <a:cubicBezTo>
                  <a:pt x="0" y="111"/>
                  <a:pt x="0" y="111"/>
                  <a:pt x="0" y="111"/>
                </a:cubicBezTo>
                <a:cubicBezTo>
                  <a:pt x="52" y="271"/>
                  <a:pt x="52" y="271"/>
                  <a:pt x="52" y="271"/>
                </a:cubicBezTo>
                <a:cubicBezTo>
                  <a:pt x="184" y="257"/>
                  <a:pt x="184" y="257"/>
                  <a:pt x="184" y="257"/>
                </a:cubicBezTo>
                <a:cubicBezTo>
                  <a:pt x="202" y="288"/>
                  <a:pt x="223" y="316"/>
                  <a:pt x="246" y="342"/>
                </a:cubicBezTo>
                <a:cubicBezTo>
                  <a:pt x="192" y="464"/>
                  <a:pt x="192" y="464"/>
                  <a:pt x="192" y="464"/>
                </a:cubicBezTo>
                <a:cubicBezTo>
                  <a:pt x="329" y="563"/>
                  <a:pt x="329" y="563"/>
                  <a:pt x="329" y="563"/>
                </a:cubicBezTo>
                <a:cubicBezTo>
                  <a:pt x="428" y="474"/>
                  <a:pt x="428" y="474"/>
                  <a:pt x="428" y="474"/>
                </a:cubicBezTo>
                <a:cubicBezTo>
                  <a:pt x="444" y="481"/>
                  <a:pt x="460" y="487"/>
                  <a:pt x="477" y="492"/>
                </a:cubicBezTo>
                <a:cubicBezTo>
                  <a:pt x="494" y="498"/>
                  <a:pt x="511" y="502"/>
                  <a:pt x="528" y="506"/>
                </a:cubicBezTo>
                <a:cubicBezTo>
                  <a:pt x="556" y="636"/>
                  <a:pt x="556" y="636"/>
                  <a:pt x="556" y="636"/>
                </a:cubicBezTo>
                <a:cubicBezTo>
                  <a:pt x="639" y="636"/>
                  <a:pt x="639" y="636"/>
                  <a:pt x="639" y="636"/>
                </a:cubicBezTo>
                <a:cubicBezTo>
                  <a:pt x="639" y="122"/>
                  <a:pt x="639" y="122"/>
                  <a:pt x="639" y="122"/>
                </a:cubicBezTo>
                <a:cubicBezTo>
                  <a:pt x="570" y="122"/>
                  <a:pt x="513" y="68"/>
                  <a:pt x="508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grpSp>
        <p:nvGrpSpPr>
          <p:cNvPr id="6" name="深度视觉·原创设计 https://www.docer.com/works?userid=22383862"/>
          <p:cNvGrpSpPr/>
          <p:nvPr/>
        </p:nvGrpSpPr>
        <p:grpSpPr>
          <a:xfrm>
            <a:off x="6597651" y="2744261"/>
            <a:ext cx="485775" cy="585788"/>
            <a:chOff x="6597651" y="2663825"/>
            <a:chExt cx="485775" cy="585788"/>
          </a:xfrm>
          <a:solidFill>
            <a:schemeClr val="bg1"/>
          </a:solidFill>
        </p:grpSpPr>
        <p:sp>
          <p:nvSpPr>
            <p:cNvPr id="7" name="深度视觉·原创设计 https://www.docer.com/works?userid=22383862"/>
            <p:cNvSpPr/>
            <p:nvPr/>
          </p:nvSpPr>
          <p:spPr bwMode="auto">
            <a:xfrm>
              <a:off x="6784976" y="2663825"/>
              <a:ext cx="114300" cy="130175"/>
            </a:xfrm>
            <a:custGeom>
              <a:avLst/>
              <a:gdLst>
                <a:gd name="T0" fmla="*/ 2 w 38"/>
                <a:gd name="T1" fmla="*/ 28 h 43"/>
                <a:gd name="T2" fmla="*/ 3 w 38"/>
                <a:gd name="T3" fmla="*/ 28 h 43"/>
                <a:gd name="T4" fmla="*/ 19 w 38"/>
                <a:gd name="T5" fmla="*/ 43 h 43"/>
                <a:gd name="T6" fmla="*/ 35 w 38"/>
                <a:gd name="T7" fmla="*/ 29 h 43"/>
                <a:gd name="T8" fmla="*/ 35 w 38"/>
                <a:gd name="T9" fmla="*/ 29 h 43"/>
                <a:gd name="T10" fmla="*/ 38 w 38"/>
                <a:gd name="T11" fmla="*/ 25 h 43"/>
                <a:gd name="T12" fmla="*/ 36 w 38"/>
                <a:gd name="T13" fmla="*/ 20 h 43"/>
                <a:gd name="T14" fmla="*/ 19 w 38"/>
                <a:gd name="T15" fmla="*/ 0 h 43"/>
                <a:gd name="T16" fmla="*/ 2 w 38"/>
                <a:gd name="T17" fmla="*/ 19 h 43"/>
                <a:gd name="T18" fmla="*/ 0 w 38"/>
                <a:gd name="T19" fmla="*/ 24 h 43"/>
                <a:gd name="T20" fmla="*/ 2 w 38"/>
                <a:gd name="T21" fmla="*/ 28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8" h="43">
                  <a:moveTo>
                    <a:pt x="2" y="28"/>
                  </a:moveTo>
                  <a:cubicBezTo>
                    <a:pt x="3" y="28"/>
                    <a:pt x="3" y="28"/>
                    <a:pt x="3" y="28"/>
                  </a:cubicBezTo>
                  <a:cubicBezTo>
                    <a:pt x="5" y="37"/>
                    <a:pt x="12" y="43"/>
                    <a:pt x="19" y="43"/>
                  </a:cubicBezTo>
                  <a:cubicBezTo>
                    <a:pt x="26" y="43"/>
                    <a:pt x="32" y="37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7" y="29"/>
                    <a:pt x="38" y="27"/>
                    <a:pt x="38" y="25"/>
                  </a:cubicBezTo>
                  <a:cubicBezTo>
                    <a:pt x="38" y="22"/>
                    <a:pt x="37" y="20"/>
                    <a:pt x="36" y="20"/>
                  </a:cubicBezTo>
                  <a:cubicBezTo>
                    <a:pt x="35" y="9"/>
                    <a:pt x="28" y="0"/>
                    <a:pt x="19" y="0"/>
                  </a:cubicBezTo>
                  <a:cubicBezTo>
                    <a:pt x="11" y="0"/>
                    <a:pt x="3" y="9"/>
                    <a:pt x="2" y="19"/>
                  </a:cubicBezTo>
                  <a:cubicBezTo>
                    <a:pt x="1" y="19"/>
                    <a:pt x="0" y="21"/>
                    <a:pt x="0" y="24"/>
                  </a:cubicBezTo>
                  <a:cubicBezTo>
                    <a:pt x="0" y="26"/>
                    <a:pt x="1" y="28"/>
                    <a:pt x="2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8" name="深度视觉·原创设计 https://www.docer.com/works?userid=22383862"/>
            <p:cNvSpPr/>
            <p:nvPr/>
          </p:nvSpPr>
          <p:spPr bwMode="auto">
            <a:xfrm>
              <a:off x="6751638" y="2790825"/>
              <a:ext cx="177800" cy="458788"/>
            </a:xfrm>
            <a:custGeom>
              <a:avLst/>
              <a:gdLst>
                <a:gd name="T0" fmla="*/ 53 w 59"/>
                <a:gd name="T1" fmla="*/ 3 h 152"/>
                <a:gd name="T2" fmla="*/ 52 w 59"/>
                <a:gd name="T3" fmla="*/ 4 h 152"/>
                <a:gd name="T4" fmla="*/ 43 w 59"/>
                <a:gd name="T5" fmla="*/ 1 h 152"/>
                <a:gd name="T6" fmla="*/ 28 w 59"/>
                <a:gd name="T7" fmla="*/ 27 h 152"/>
                <a:gd name="T8" fmla="*/ 16 w 59"/>
                <a:gd name="T9" fmla="*/ 0 h 152"/>
                <a:gd name="T10" fmla="*/ 6 w 59"/>
                <a:gd name="T11" fmla="*/ 1 h 152"/>
                <a:gd name="T12" fmla="*/ 6 w 59"/>
                <a:gd name="T13" fmla="*/ 1 h 152"/>
                <a:gd name="T14" fmla="*/ 0 w 59"/>
                <a:gd name="T15" fmla="*/ 7 h 152"/>
                <a:gd name="T16" fmla="*/ 1 w 59"/>
                <a:gd name="T17" fmla="*/ 68 h 152"/>
                <a:gd name="T18" fmla="*/ 3 w 59"/>
                <a:gd name="T19" fmla="*/ 73 h 152"/>
                <a:gd name="T20" fmla="*/ 3 w 59"/>
                <a:gd name="T21" fmla="*/ 74 h 152"/>
                <a:gd name="T22" fmla="*/ 9 w 59"/>
                <a:gd name="T23" fmla="*/ 80 h 152"/>
                <a:gd name="T24" fmla="*/ 12 w 59"/>
                <a:gd name="T25" fmla="*/ 79 h 152"/>
                <a:gd name="T26" fmla="*/ 12 w 59"/>
                <a:gd name="T27" fmla="*/ 152 h 152"/>
                <a:gd name="T28" fmla="*/ 27 w 59"/>
                <a:gd name="T29" fmla="*/ 152 h 152"/>
                <a:gd name="T30" fmla="*/ 29 w 59"/>
                <a:gd name="T31" fmla="*/ 82 h 152"/>
                <a:gd name="T32" fmla="*/ 30 w 59"/>
                <a:gd name="T33" fmla="*/ 152 h 152"/>
                <a:gd name="T34" fmla="*/ 47 w 59"/>
                <a:gd name="T35" fmla="*/ 152 h 152"/>
                <a:gd name="T36" fmla="*/ 48 w 59"/>
                <a:gd name="T37" fmla="*/ 81 h 152"/>
                <a:gd name="T38" fmla="*/ 50 w 59"/>
                <a:gd name="T39" fmla="*/ 82 h 152"/>
                <a:gd name="T40" fmla="*/ 56 w 59"/>
                <a:gd name="T41" fmla="*/ 76 h 152"/>
                <a:gd name="T42" fmla="*/ 56 w 59"/>
                <a:gd name="T43" fmla="*/ 75 h 152"/>
                <a:gd name="T44" fmla="*/ 59 w 59"/>
                <a:gd name="T45" fmla="*/ 70 h 152"/>
                <a:gd name="T46" fmla="*/ 59 w 59"/>
                <a:gd name="T47" fmla="*/ 9 h 152"/>
                <a:gd name="T48" fmla="*/ 53 w 59"/>
                <a:gd name="T49" fmla="*/ 3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9" h="152">
                  <a:moveTo>
                    <a:pt x="53" y="3"/>
                  </a:moveTo>
                  <a:cubicBezTo>
                    <a:pt x="53" y="3"/>
                    <a:pt x="52" y="3"/>
                    <a:pt x="52" y="4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3" y="2"/>
                    <a:pt x="0" y="4"/>
                    <a:pt x="0" y="7"/>
                  </a:cubicBezTo>
                  <a:cubicBezTo>
                    <a:pt x="1" y="68"/>
                    <a:pt x="1" y="68"/>
                    <a:pt x="1" y="68"/>
                  </a:cubicBezTo>
                  <a:cubicBezTo>
                    <a:pt x="1" y="70"/>
                    <a:pt x="2" y="72"/>
                    <a:pt x="3" y="73"/>
                  </a:cubicBezTo>
                  <a:cubicBezTo>
                    <a:pt x="3" y="73"/>
                    <a:pt x="3" y="73"/>
                    <a:pt x="3" y="74"/>
                  </a:cubicBezTo>
                  <a:cubicBezTo>
                    <a:pt x="3" y="77"/>
                    <a:pt x="6" y="80"/>
                    <a:pt x="9" y="80"/>
                  </a:cubicBezTo>
                  <a:cubicBezTo>
                    <a:pt x="10" y="80"/>
                    <a:pt x="11" y="80"/>
                    <a:pt x="12" y="79"/>
                  </a:cubicBezTo>
                  <a:cubicBezTo>
                    <a:pt x="12" y="152"/>
                    <a:pt x="12" y="152"/>
                    <a:pt x="12" y="152"/>
                  </a:cubicBezTo>
                  <a:cubicBezTo>
                    <a:pt x="27" y="152"/>
                    <a:pt x="27" y="152"/>
                    <a:pt x="27" y="152"/>
                  </a:cubicBezTo>
                  <a:cubicBezTo>
                    <a:pt x="29" y="82"/>
                    <a:pt x="29" y="82"/>
                    <a:pt x="29" y="82"/>
                  </a:cubicBezTo>
                  <a:cubicBezTo>
                    <a:pt x="30" y="152"/>
                    <a:pt x="30" y="152"/>
                    <a:pt x="30" y="152"/>
                  </a:cubicBezTo>
                  <a:cubicBezTo>
                    <a:pt x="47" y="152"/>
                    <a:pt x="47" y="152"/>
                    <a:pt x="47" y="152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48" y="81"/>
                    <a:pt x="49" y="82"/>
                    <a:pt x="50" y="82"/>
                  </a:cubicBezTo>
                  <a:cubicBezTo>
                    <a:pt x="54" y="82"/>
                    <a:pt x="56" y="79"/>
                    <a:pt x="56" y="76"/>
                  </a:cubicBezTo>
                  <a:cubicBezTo>
                    <a:pt x="56" y="75"/>
                    <a:pt x="56" y="75"/>
                    <a:pt x="56" y="75"/>
                  </a:cubicBezTo>
                  <a:cubicBezTo>
                    <a:pt x="58" y="74"/>
                    <a:pt x="59" y="72"/>
                    <a:pt x="59" y="70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59" y="6"/>
                    <a:pt x="56" y="3"/>
                    <a:pt x="53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9" name="深度视觉·原创设计 https://www.docer.com/works?userid=22383862"/>
            <p:cNvSpPr/>
            <p:nvPr/>
          </p:nvSpPr>
          <p:spPr bwMode="auto">
            <a:xfrm>
              <a:off x="6954838" y="2709863"/>
              <a:ext cx="101600" cy="117475"/>
            </a:xfrm>
            <a:custGeom>
              <a:avLst/>
              <a:gdLst>
                <a:gd name="T0" fmla="*/ 2 w 34"/>
                <a:gd name="T1" fmla="*/ 26 h 39"/>
                <a:gd name="T2" fmla="*/ 3 w 34"/>
                <a:gd name="T3" fmla="*/ 26 h 39"/>
                <a:gd name="T4" fmla="*/ 17 w 34"/>
                <a:gd name="T5" fmla="*/ 39 h 39"/>
                <a:gd name="T6" fmla="*/ 31 w 34"/>
                <a:gd name="T7" fmla="*/ 26 h 39"/>
                <a:gd name="T8" fmla="*/ 32 w 34"/>
                <a:gd name="T9" fmla="*/ 26 h 39"/>
                <a:gd name="T10" fmla="*/ 34 w 34"/>
                <a:gd name="T11" fmla="*/ 22 h 39"/>
                <a:gd name="T12" fmla="*/ 32 w 34"/>
                <a:gd name="T13" fmla="*/ 18 h 39"/>
                <a:gd name="T14" fmla="*/ 17 w 34"/>
                <a:gd name="T15" fmla="*/ 0 h 39"/>
                <a:gd name="T16" fmla="*/ 2 w 34"/>
                <a:gd name="T17" fmla="*/ 18 h 39"/>
                <a:gd name="T18" fmla="*/ 0 w 34"/>
                <a:gd name="T19" fmla="*/ 22 h 39"/>
                <a:gd name="T20" fmla="*/ 2 w 34"/>
                <a:gd name="T21" fmla="*/ 26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4" h="39">
                  <a:moveTo>
                    <a:pt x="2" y="26"/>
                  </a:moveTo>
                  <a:cubicBezTo>
                    <a:pt x="3" y="26"/>
                    <a:pt x="3" y="26"/>
                    <a:pt x="3" y="26"/>
                  </a:cubicBezTo>
                  <a:cubicBezTo>
                    <a:pt x="5" y="33"/>
                    <a:pt x="11" y="39"/>
                    <a:pt x="17" y="39"/>
                  </a:cubicBezTo>
                  <a:cubicBezTo>
                    <a:pt x="24" y="39"/>
                    <a:pt x="29" y="34"/>
                    <a:pt x="31" y="26"/>
                  </a:cubicBezTo>
                  <a:cubicBezTo>
                    <a:pt x="32" y="26"/>
                    <a:pt x="32" y="26"/>
                    <a:pt x="32" y="26"/>
                  </a:cubicBezTo>
                  <a:cubicBezTo>
                    <a:pt x="33" y="26"/>
                    <a:pt x="34" y="25"/>
                    <a:pt x="34" y="22"/>
                  </a:cubicBezTo>
                  <a:cubicBezTo>
                    <a:pt x="34" y="20"/>
                    <a:pt x="33" y="19"/>
                    <a:pt x="32" y="18"/>
                  </a:cubicBezTo>
                  <a:cubicBezTo>
                    <a:pt x="32" y="8"/>
                    <a:pt x="25" y="1"/>
                    <a:pt x="17" y="0"/>
                  </a:cubicBezTo>
                  <a:cubicBezTo>
                    <a:pt x="10" y="0"/>
                    <a:pt x="3" y="8"/>
                    <a:pt x="2" y="18"/>
                  </a:cubicBezTo>
                  <a:cubicBezTo>
                    <a:pt x="1" y="18"/>
                    <a:pt x="0" y="20"/>
                    <a:pt x="0" y="22"/>
                  </a:cubicBezTo>
                  <a:cubicBezTo>
                    <a:pt x="0" y="24"/>
                    <a:pt x="1" y="26"/>
                    <a:pt x="2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10" name="深度视觉·原创设计 https://www.docer.com/works?userid=22383862"/>
            <p:cNvSpPr/>
            <p:nvPr/>
          </p:nvSpPr>
          <p:spPr bwMode="auto">
            <a:xfrm>
              <a:off x="6956426" y="2824163"/>
              <a:ext cx="127000" cy="412750"/>
            </a:xfrm>
            <a:custGeom>
              <a:avLst/>
              <a:gdLst>
                <a:gd name="T0" fmla="*/ 37 w 42"/>
                <a:gd name="T1" fmla="*/ 3 h 137"/>
                <a:gd name="T2" fmla="*/ 36 w 42"/>
                <a:gd name="T3" fmla="*/ 3 h 137"/>
                <a:gd name="T4" fmla="*/ 28 w 42"/>
                <a:gd name="T5" fmla="*/ 1 h 137"/>
                <a:gd name="T6" fmla="*/ 15 w 42"/>
                <a:gd name="T7" fmla="*/ 24 h 137"/>
                <a:gd name="T8" fmla="*/ 4 w 42"/>
                <a:gd name="T9" fmla="*/ 0 h 137"/>
                <a:gd name="T10" fmla="*/ 2 w 42"/>
                <a:gd name="T11" fmla="*/ 0 h 137"/>
                <a:gd name="T12" fmla="*/ 2 w 42"/>
                <a:gd name="T13" fmla="*/ 75 h 137"/>
                <a:gd name="T14" fmla="*/ 0 w 42"/>
                <a:gd name="T15" fmla="*/ 81 h 137"/>
                <a:gd name="T16" fmla="*/ 0 w 42"/>
                <a:gd name="T17" fmla="*/ 137 h 137"/>
                <a:gd name="T18" fmla="*/ 14 w 42"/>
                <a:gd name="T19" fmla="*/ 137 h 137"/>
                <a:gd name="T20" fmla="*/ 15 w 42"/>
                <a:gd name="T21" fmla="*/ 74 h 137"/>
                <a:gd name="T22" fmla="*/ 16 w 42"/>
                <a:gd name="T23" fmla="*/ 137 h 137"/>
                <a:gd name="T24" fmla="*/ 32 w 42"/>
                <a:gd name="T25" fmla="*/ 137 h 137"/>
                <a:gd name="T26" fmla="*/ 32 w 42"/>
                <a:gd name="T27" fmla="*/ 73 h 137"/>
                <a:gd name="T28" fmla="*/ 35 w 42"/>
                <a:gd name="T29" fmla="*/ 74 h 137"/>
                <a:gd name="T30" fmla="*/ 40 w 42"/>
                <a:gd name="T31" fmla="*/ 68 h 137"/>
                <a:gd name="T32" fmla="*/ 40 w 42"/>
                <a:gd name="T33" fmla="*/ 67 h 137"/>
                <a:gd name="T34" fmla="*/ 42 w 42"/>
                <a:gd name="T35" fmla="*/ 63 h 137"/>
                <a:gd name="T36" fmla="*/ 42 w 42"/>
                <a:gd name="T37" fmla="*/ 8 h 137"/>
                <a:gd name="T38" fmla="*/ 37 w 42"/>
                <a:gd name="T39" fmla="*/ 3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2" h="137">
                  <a:moveTo>
                    <a:pt x="37" y="3"/>
                  </a:moveTo>
                  <a:cubicBezTo>
                    <a:pt x="37" y="3"/>
                    <a:pt x="36" y="3"/>
                    <a:pt x="36" y="3"/>
                  </a:cubicBezTo>
                  <a:cubicBezTo>
                    <a:pt x="28" y="1"/>
                    <a:pt x="28" y="1"/>
                    <a:pt x="28" y="1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75"/>
                    <a:pt x="2" y="75"/>
                    <a:pt x="2" y="75"/>
                  </a:cubicBezTo>
                  <a:cubicBezTo>
                    <a:pt x="2" y="75"/>
                    <a:pt x="2" y="78"/>
                    <a:pt x="0" y="81"/>
                  </a:cubicBezTo>
                  <a:cubicBezTo>
                    <a:pt x="0" y="137"/>
                    <a:pt x="0" y="137"/>
                    <a:pt x="0" y="137"/>
                  </a:cubicBezTo>
                  <a:cubicBezTo>
                    <a:pt x="14" y="137"/>
                    <a:pt x="14" y="137"/>
                    <a:pt x="14" y="137"/>
                  </a:cubicBezTo>
                  <a:cubicBezTo>
                    <a:pt x="15" y="74"/>
                    <a:pt x="15" y="74"/>
                    <a:pt x="15" y="74"/>
                  </a:cubicBezTo>
                  <a:cubicBezTo>
                    <a:pt x="16" y="137"/>
                    <a:pt x="16" y="137"/>
                    <a:pt x="16" y="137"/>
                  </a:cubicBezTo>
                  <a:cubicBezTo>
                    <a:pt x="32" y="137"/>
                    <a:pt x="32" y="137"/>
                    <a:pt x="32" y="137"/>
                  </a:cubicBezTo>
                  <a:cubicBezTo>
                    <a:pt x="32" y="73"/>
                    <a:pt x="32" y="73"/>
                    <a:pt x="32" y="73"/>
                  </a:cubicBezTo>
                  <a:cubicBezTo>
                    <a:pt x="33" y="73"/>
                    <a:pt x="34" y="74"/>
                    <a:pt x="35" y="74"/>
                  </a:cubicBezTo>
                  <a:cubicBezTo>
                    <a:pt x="37" y="74"/>
                    <a:pt x="40" y="71"/>
                    <a:pt x="40" y="68"/>
                  </a:cubicBezTo>
                  <a:cubicBezTo>
                    <a:pt x="40" y="68"/>
                    <a:pt x="40" y="67"/>
                    <a:pt x="40" y="67"/>
                  </a:cubicBezTo>
                  <a:cubicBezTo>
                    <a:pt x="41" y="66"/>
                    <a:pt x="42" y="65"/>
                    <a:pt x="42" y="63"/>
                  </a:cubicBezTo>
                  <a:cubicBezTo>
                    <a:pt x="42" y="8"/>
                    <a:pt x="42" y="8"/>
                    <a:pt x="42" y="8"/>
                  </a:cubicBezTo>
                  <a:cubicBezTo>
                    <a:pt x="42" y="6"/>
                    <a:pt x="40" y="3"/>
                    <a:pt x="37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11" name="深度视觉·原创设计 https://www.docer.com/works?userid=22383862"/>
            <p:cNvSpPr/>
            <p:nvPr/>
          </p:nvSpPr>
          <p:spPr bwMode="auto">
            <a:xfrm>
              <a:off x="6624638" y="2709863"/>
              <a:ext cx="106363" cy="117475"/>
            </a:xfrm>
            <a:custGeom>
              <a:avLst/>
              <a:gdLst>
                <a:gd name="T0" fmla="*/ 32 w 35"/>
                <a:gd name="T1" fmla="*/ 18 h 39"/>
                <a:gd name="T2" fmla="*/ 17 w 35"/>
                <a:gd name="T3" fmla="*/ 0 h 39"/>
                <a:gd name="T4" fmla="*/ 2 w 35"/>
                <a:gd name="T5" fmla="*/ 18 h 39"/>
                <a:gd name="T6" fmla="*/ 0 w 35"/>
                <a:gd name="T7" fmla="*/ 22 h 39"/>
                <a:gd name="T8" fmla="*/ 3 w 35"/>
                <a:gd name="T9" fmla="*/ 26 h 39"/>
                <a:gd name="T10" fmla="*/ 3 w 35"/>
                <a:gd name="T11" fmla="*/ 26 h 39"/>
                <a:gd name="T12" fmla="*/ 17 w 35"/>
                <a:gd name="T13" fmla="*/ 39 h 39"/>
                <a:gd name="T14" fmla="*/ 32 w 35"/>
                <a:gd name="T15" fmla="*/ 26 h 39"/>
                <a:gd name="T16" fmla="*/ 32 w 35"/>
                <a:gd name="T17" fmla="*/ 26 h 39"/>
                <a:gd name="T18" fmla="*/ 35 w 35"/>
                <a:gd name="T19" fmla="*/ 22 h 39"/>
                <a:gd name="T20" fmla="*/ 32 w 35"/>
                <a:gd name="T21" fmla="*/ 1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" h="39">
                  <a:moveTo>
                    <a:pt x="32" y="18"/>
                  </a:moveTo>
                  <a:cubicBezTo>
                    <a:pt x="32" y="8"/>
                    <a:pt x="25" y="0"/>
                    <a:pt x="17" y="0"/>
                  </a:cubicBezTo>
                  <a:cubicBezTo>
                    <a:pt x="10" y="0"/>
                    <a:pt x="3" y="8"/>
                    <a:pt x="2" y="18"/>
                  </a:cubicBezTo>
                  <a:cubicBezTo>
                    <a:pt x="1" y="18"/>
                    <a:pt x="0" y="20"/>
                    <a:pt x="0" y="22"/>
                  </a:cubicBezTo>
                  <a:cubicBezTo>
                    <a:pt x="0" y="24"/>
                    <a:pt x="1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5" y="34"/>
                    <a:pt x="11" y="39"/>
                    <a:pt x="17" y="39"/>
                  </a:cubicBezTo>
                  <a:cubicBezTo>
                    <a:pt x="24" y="39"/>
                    <a:pt x="30" y="33"/>
                    <a:pt x="32" y="26"/>
                  </a:cubicBezTo>
                  <a:cubicBezTo>
                    <a:pt x="32" y="26"/>
                    <a:pt x="32" y="26"/>
                    <a:pt x="32" y="26"/>
                  </a:cubicBezTo>
                  <a:cubicBezTo>
                    <a:pt x="34" y="26"/>
                    <a:pt x="35" y="24"/>
                    <a:pt x="35" y="22"/>
                  </a:cubicBezTo>
                  <a:cubicBezTo>
                    <a:pt x="35" y="20"/>
                    <a:pt x="34" y="18"/>
                    <a:pt x="32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12" name="深度视觉·原创设计 https://www.docer.com/works?userid=22383862"/>
            <p:cNvSpPr/>
            <p:nvPr/>
          </p:nvSpPr>
          <p:spPr bwMode="auto">
            <a:xfrm>
              <a:off x="6597651" y="2824163"/>
              <a:ext cx="127000" cy="412750"/>
            </a:xfrm>
            <a:custGeom>
              <a:avLst/>
              <a:gdLst>
                <a:gd name="T0" fmla="*/ 40 w 42"/>
                <a:gd name="T1" fmla="*/ 75 h 137"/>
                <a:gd name="T2" fmla="*/ 41 w 42"/>
                <a:gd name="T3" fmla="*/ 0 h 137"/>
                <a:gd name="T4" fmla="*/ 39 w 42"/>
                <a:gd name="T5" fmla="*/ 0 h 137"/>
                <a:gd name="T6" fmla="*/ 28 w 42"/>
                <a:gd name="T7" fmla="*/ 24 h 137"/>
                <a:gd name="T8" fmla="*/ 15 w 42"/>
                <a:gd name="T9" fmla="*/ 0 h 137"/>
                <a:gd name="T10" fmla="*/ 6 w 42"/>
                <a:gd name="T11" fmla="*/ 3 h 137"/>
                <a:gd name="T12" fmla="*/ 5 w 42"/>
                <a:gd name="T13" fmla="*/ 3 h 137"/>
                <a:gd name="T14" fmla="*/ 0 w 42"/>
                <a:gd name="T15" fmla="*/ 8 h 137"/>
                <a:gd name="T16" fmla="*/ 0 w 42"/>
                <a:gd name="T17" fmla="*/ 62 h 137"/>
                <a:gd name="T18" fmla="*/ 2 w 42"/>
                <a:gd name="T19" fmla="*/ 67 h 137"/>
                <a:gd name="T20" fmla="*/ 2 w 42"/>
                <a:gd name="T21" fmla="*/ 68 h 137"/>
                <a:gd name="T22" fmla="*/ 7 w 42"/>
                <a:gd name="T23" fmla="*/ 73 h 137"/>
                <a:gd name="T24" fmla="*/ 10 w 42"/>
                <a:gd name="T25" fmla="*/ 72 h 137"/>
                <a:gd name="T26" fmla="*/ 9 w 42"/>
                <a:gd name="T27" fmla="*/ 136 h 137"/>
                <a:gd name="T28" fmla="*/ 25 w 42"/>
                <a:gd name="T29" fmla="*/ 136 h 137"/>
                <a:gd name="T30" fmla="*/ 27 w 42"/>
                <a:gd name="T31" fmla="*/ 74 h 137"/>
                <a:gd name="T32" fmla="*/ 27 w 42"/>
                <a:gd name="T33" fmla="*/ 137 h 137"/>
                <a:gd name="T34" fmla="*/ 41 w 42"/>
                <a:gd name="T35" fmla="*/ 137 h 137"/>
                <a:gd name="T36" fmla="*/ 42 w 42"/>
                <a:gd name="T37" fmla="*/ 81 h 137"/>
                <a:gd name="T38" fmla="*/ 40 w 42"/>
                <a:gd name="T39" fmla="*/ 75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2" h="137">
                  <a:moveTo>
                    <a:pt x="40" y="75"/>
                  </a:moveTo>
                  <a:cubicBezTo>
                    <a:pt x="41" y="0"/>
                    <a:pt x="41" y="0"/>
                    <a:pt x="41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5" y="3"/>
                  </a:cubicBezTo>
                  <a:cubicBezTo>
                    <a:pt x="3" y="3"/>
                    <a:pt x="0" y="5"/>
                    <a:pt x="0" y="8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64"/>
                    <a:pt x="1" y="66"/>
                    <a:pt x="2" y="67"/>
                  </a:cubicBezTo>
                  <a:cubicBezTo>
                    <a:pt x="2" y="67"/>
                    <a:pt x="2" y="67"/>
                    <a:pt x="2" y="68"/>
                  </a:cubicBezTo>
                  <a:cubicBezTo>
                    <a:pt x="2" y="71"/>
                    <a:pt x="4" y="73"/>
                    <a:pt x="7" y="73"/>
                  </a:cubicBezTo>
                  <a:cubicBezTo>
                    <a:pt x="8" y="73"/>
                    <a:pt x="9" y="73"/>
                    <a:pt x="10" y="72"/>
                  </a:cubicBezTo>
                  <a:cubicBezTo>
                    <a:pt x="9" y="136"/>
                    <a:pt x="9" y="136"/>
                    <a:pt x="9" y="136"/>
                  </a:cubicBezTo>
                  <a:cubicBezTo>
                    <a:pt x="25" y="136"/>
                    <a:pt x="25" y="136"/>
                    <a:pt x="25" y="136"/>
                  </a:cubicBezTo>
                  <a:cubicBezTo>
                    <a:pt x="27" y="74"/>
                    <a:pt x="27" y="74"/>
                    <a:pt x="27" y="74"/>
                  </a:cubicBezTo>
                  <a:cubicBezTo>
                    <a:pt x="27" y="137"/>
                    <a:pt x="27" y="137"/>
                    <a:pt x="27" y="137"/>
                  </a:cubicBezTo>
                  <a:cubicBezTo>
                    <a:pt x="41" y="137"/>
                    <a:pt x="41" y="137"/>
                    <a:pt x="41" y="137"/>
                  </a:cubicBezTo>
                  <a:cubicBezTo>
                    <a:pt x="42" y="81"/>
                    <a:pt x="42" y="81"/>
                    <a:pt x="42" y="81"/>
                  </a:cubicBezTo>
                  <a:cubicBezTo>
                    <a:pt x="39" y="78"/>
                    <a:pt x="40" y="75"/>
                    <a:pt x="40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</p:grpSp>
      <p:grpSp>
        <p:nvGrpSpPr>
          <p:cNvPr id="13" name="深度视觉·原创设计 https://www.docer.com/works?userid=22383862"/>
          <p:cNvGrpSpPr/>
          <p:nvPr/>
        </p:nvGrpSpPr>
        <p:grpSpPr>
          <a:xfrm>
            <a:off x="5122863" y="2707749"/>
            <a:ext cx="385763" cy="627063"/>
            <a:chOff x="5122863" y="2627313"/>
            <a:chExt cx="385763" cy="627063"/>
          </a:xfrm>
          <a:solidFill>
            <a:schemeClr val="bg1"/>
          </a:solidFill>
        </p:grpSpPr>
        <p:sp>
          <p:nvSpPr>
            <p:cNvPr id="14" name="深度视觉·原创设计 https://www.docer.com/works?userid=22383862"/>
            <p:cNvSpPr/>
            <p:nvPr/>
          </p:nvSpPr>
          <p:spPr bwMode="auto">
            <a:xfrm>
              <a:off x="5267326" y="3230563"/>
              <a:ext cx="100013" cy="23813"/>
            </a:xfrm>
            <a:custGeom>
              <a:avLst/>
              <a:gdLst>
                <a:gd name="T0" fmla="*/ 33 w 33"/>
                <a:gd name="T1" fmla="*/ 4 h 8"/>
                <a:gd name="T2" fmla="*/ 29 w 33"/>
                <a:gd name="T3" fmla="*/ 8 h 8"/>
                <a:gd name="T4" fmla="*/ 4 w 33"/>
                <a:gd name="T5" fmla="*/ 8 h 8"/>
                <a:gd name="T6" fmla="*/ 0 w 33"/>
                <a:gd name="T7" fmla="*/ 4 h 8"/>
                <a:gd name="T8" fmla="*/ 0 w 33"/>
                <a:gd name="T9" fmla="*/ 4 h 8"/>
                <a:gd name="T10" fmla="*/ 4 w 33"/>
                <a:gd name="T11" fmla="*/ 0 h 8"/>
                <a:gd name="T12" fmla="*/ 29 w 33"/>
                <a:gd name="T13" fmla="*/ 0 h 8"/>
                <a:gd name="T14" fmla="*/ 33 w 33"/>
                <a:gd name="T15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8">
                  <a:moveTo>
                    <a:pt x="33" y="4"/>
                  </a:moveTo>
                  <a:cubicBezTo>
                    <a:pt x="33" y="6"/>
                    <a:pt x="31" y="8"/>
                    <a:pt x="29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31" y="0"/>
                    <a:pt x="33" y="2"/>
                    <a:pt x="33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15" name="深度视觉·原创设计 https://www.docer.com/works?userid=22383862"/>
            <p:cNvSpPr/>
            <p:nvPr/>
          </p:nvSpPr>
          <p:spPr bwMode="auto">
            <a:xfrm>
              <a:off x="5243513" y="3219450"/>
              <a:ext cx="147638" cy="23813"/>
            </a:xfrm>
            <a:custGeom>
              <a:avLst/>
              <a:gdLst>
                <a:gd name="T0" fmla="*/ 6 w 49"/>
                <a:gd name="T1" fmla="*/ 8 h 8"/>
                <a:gd name="T2" fmla="*/ 43 w 49"/>
                <a:gd name="T3" fmla="*/ 8 h 8"/>
                <a:gd name="T4" fmla="*/ 46 w 49"/>
                <a:gd name="T5" fmla="*/ 5 h 8"/>
                <a:gd name="T6" fmla="*/ 49 w 49"/>
                <a:gd name="T7" fmla="*/ 0 h 8"/>
                <a:gd name="T8" fmla="*/ 0 w 49"/>
                <a:gd name="T9" fmla="*/ 0 h 8"/>
                <a:gd name="T10" fmla="*/ 0 w 49"/>
                <a:gd name="T11" fmla="*/ 1 h 8"/>
                <a:gd name="T12" fmla="*/ 6 w 49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9" h="8">
                  <a:moveTo>
                    <a:pt x="6" y="8"/>
                  </a:moveTo>
                  <a:cubicBezTo>
                    <a:pt x="43" y="8"/>
                    <a:pt x="43" y="8"/>
                    <a:pt x="43" y="8"/>
                  </a:cubicBezTo>
                  <a:cubicBezTo>
                    <a:pt x="43" y="7"/>
                    <a:pt x="44" y="6"/>
                    <a:pt x="46" y="5"/>
                  </a:cubicBezTo>
                  <a:cubicBezTo>
                    <a:pt x="48" y="3"/>
                    <a:pt x="49" y="1"/>
                    <a:pt x="4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0" y="2"/>
                    <a:pt x="5" y="6"/>
                    <a:pt x="6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16" name="深度视觉·原创设计 https://www.docer.com/works?userid=22383862"/>
            <p:cNvSpPr/>
            <p:nvPr/>
          </p:nvSpPr>
          <p:spPr bwMode="auto">
            <a:xfrm>
              <a:off x="5237163" y="3146425"/>
              <a:ext cx="160338" cy="15875"/>
            </a:xfrm>
            <a:custGeom>
              <a:avLst/>
              <a:gdLst>
                <a:gd name="T0" fmla="*/ 53 w 53"/>
                <a:gd name="T1" fmla="*/ 2 h 5"/>
                <a:gd name="T2" fmla="*/ 51 w 53"/>
                <a:gd name="T3" fmla="*/ 5 h 5"/>
                <a:gd name="T4" fmla="*/ 2 w 53"/>
                <a:gd name="T5" fmla="*/ 5 h 5"/>
                <a:gd name="T6" fmla="*/ 0 w 53"/>
                <a:gd name="T7" fmla="*/ 2 h 5"/>
                <a:gd name="T8" fmla="*/ 0 w 53"/>
                <a:gd name="T9" fmla="*/ 2 h 5"/>
                <a:gd name="T10" fmla="*/ 2 w 53"/>
                <a:gd name="T11" fmla="*/ 0 h 5"/>
                <a:gd name="T12" fmla="*/ 51 w 53"/>
                <a:gd name="T13" fmla="*/ 0 h 5"/>
                <a:gd name="T14" fmla="*/ 53 w 53"/>
                <a:gd name="T15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3" h="5">
                  <a:moveTo>
                    <a:pt x="53" y="2"/>
                  </a:moveTo>
                  <a:cubicBezTo>
                    <a:pt x="53" y="4"/>
                    <a:pt x="52" y="5"/>
                    <a:pt x="51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1" y="5"/>
                    <a:pt x="0" y="4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52" y="0"/>
                    <a:pt x="53" y="1"/>
                    <a:pt x="53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17" name="深度视觉·原创设计 https://www.docer.com/works?userid=22383862"/>
            <p:cNvSpPr/>
            <p:nvPr/>
          </p:nvSpPr>
          <p:spPr bwMode="auto">
            <a:xfrm>
              <a:off x="5237163" y="3167063"/>
              <a:ext cx="160338" cy="15875"/>
            </a:xfrm>
            <a:custGeom>
              <a:avLst/>
              <a:gdLst>
                <a:gd name="T0" fmla="*/ 53 w 53"/>
                <a:gd name="T1" fmla="*/ 3 h 5"/>
                <a:gd name="T2" fmla="*/ 51 w 53"/>
                <a:gd name="T3" fmla="*/ 5 h 5"/>
                <a:gd name="T4" fmla="*/ 2 w 53"/>
                <a:gd name="T5" fmla="*/ 5 h 5"/>
                <a:gd name="T6" fmla="*/ 0 w 53"/>
                <a:gd name="T7" fmla="*/ 3 h 5"/>
                <a:gd name="T8" fmla="*/ 0 w 53"/>
                <a:gd name="T9" fmla="*/ 3 h 5"/>
                <a:gd name="T10" fmla="*/ 2 w 53"/>
                <a:gd name="T11" fmla="*/ 0 h 5"/>
                <a:gd name="T12" fmla="*/ 51 w 53"/>
                <a:gd name="T13" fmla="*/ 0 h 5"/>
                <a:gd name="T14" fmla="*/ 53 w 53"/>
                <a:gd name="T15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3" h="5">
                  <a:moveTo>
                    <a:pt x="53" y="3"/>
                  </a:moveTo>
                  <a:cubicBezTo>
                    <a:pt x="53" y="4"/>
                    <a:pt x="52" y="5"/>
                    <a:pt x="51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1" y="5"/>
                    <a:pt x="0" y="4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52" y="0"/>
                    <a:pt x="53" y="1"/>
                    <a:pt x="53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18" name="深度视觉·原创设计 https://www.docer.com/works?userid=22383862"/>
            <p:cNvSpPr/>
            <p:nvPr/>
          </p:nvSpPr>
          <p:spPr bwMode="auto">
            <a:xfrm>
              <a:off x="5237163" y="3192463"/>
              <a:ext cx="160338" cy="14288"/>
            </a:xfrm>
            <a:custGeom>
              <a:avLst/>
              <a:gdLst>
                <a:gd name="T0" fmla="*/ 53 w 53"/>
                <a:gd name="T1" fmla="*/ 2 h 5"/>
                <a:gd name="T2" fmla="*/ 51 w 53"/>
                <a:gd name="T3" fmla="*/ 5 h 5"/>
                <a:gd name="T4" fmla="*/ 2 w 53"/>
                <a:gd name="T5" fmla="*/ 5 h 5"/>
                <a:gd name="T6" fmla="*/ 0 w 53"/>
                <a:gd name="T7" fmla="*/ 2 h 5"/>
                <a:gd name="T8" fmla="*/ 0 w 53"/>
                <a:gd name="T9" fmla="*/ 2 h 5"/>
                <a:gd name="T10" fmla="*/ 2 w 53"/>
                <a:gd name="T11" fmla="*/ 0 h 5"/>
                <a:gd name="T12" fmla="*/ 51 w 53"/>
                <a:gd name="T13" fmla="*/ 0 h 5"/>
                <a:gd name="T14" fmla="*/ 53 w 53"/>
                <a:gd name="T15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3" h="5">
                  <a:moveTo>
                    <a:pt x="53" y="2"/>
                  </a:moveTo>
                  <a:cubicBezTo>
                    <a:pt x="53" y="4"/>
                    <a:pt x="52" y="5"/>
                    <a:pt x="51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1" y="5"/>
                    <a:pt x="0" y="4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52" y="0"/>
                    <a:pt x="53" y="1"/>
                    <a:pt x="53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19" name="深度视觉·原创设计 https://www.docer.com/works?userid=22383862"/>
            <p:cNvSpPr/>
            <p:nvPr/>
          </p:nvSpPr>
          <p:spPr bwMode="auto">
            <a:xfrm>
              <a:off x="5237163" y="3209925"/>
              <a:ext cx="160338" cy="12700"/>
            </a:xfrm>
            <a:custGeom>
              <a:avLst/>
              <a:gdLst>
                <a:gd name="T0" fmla="*/ 53 w 53"/>
                <a:gd name="T1" fmla="*/ 2 h 4"/>
                <a:gd name="T2" fmla="*/ 51 w 53"/>
                <a:gd name="T3" fmla="*/ 4 h 4"/>
                <a:gd name="T4" fmla="*/ 2 w 53"/>
                <a:gd name="T5" fmla="*/ 4 h 4"/>
                <a:gd name="T6" fmla="*/ 0 w 53"/>
                <a:gd name="T7" fmla="*/ 2 h 4"/>
                <a:gd name="T8" fmla="*/ 0 w 53"/>
                <a:gd name="T9" fmla="*/ 2 h 4"/>
                <a:gd name="T10" fmla="*/ 2 w 53"/>
                <a:gd name="T11" fmla="*/ 0 h 4"/>
                <a:gd name="T12" fmla="*/ 51 w 53"/>
                <a:gd name="T13" fmla="*/ 0 h 4"/>
                <a:gd name="T14" fmla="*/ 53 w 53"/>
                <a:gd name="T15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3" h="4">
                  <a:moveTo>
                    <a:pt x="53" y="2"/>
                  </a:moveTo>
                  <a:cubicBezTo>
                    <a:pt x="53" y="3"/>
                    <a:pt x="52" y="4"/>
                    <a:pt x="51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52" y="0"/>
                    <a:pt x="53" y="1"/>
                    <a:pt x="53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20" name="深度视觉·原创设计 https://www.docer.com/works?userid=22383862"/>
            <p:cNvSpPr/>
            <p:nvPr/>
          </p:nvSpPr>
          <p:spPr bwMode="auto">
            <a:xfrm>
              <a:off x="5235576" y="3122613"/>
              <a:ext cx="165100" cy="14288"/>
            </a:xfrm>
            <a:custGeom>
              <a:avLst/>
              <a:gdLst>
                <a:gd name="T0" fmla="*/ 55 w 55"/>
                <a:gd name="T1" fmla="*/ 3 h 5"/>
                <a:gd name="T2" fmla="*/ 52 w 55"/>
                <a:gd name="T3" fmla="*/ 5 h 5"/>
                <a:gd name="T4" fmla="*/ 3 w 55"/>
                <a:gd name="T5" fmla="*/ 5 h 5"/>
                <a:gd name="T6" fmla="*/ 0 w 55"/>
                <a:gd name="T7" fmla="*/ 3 h 5"/>
                <a:gd name="T8" fmla="*/ 0 w 55"/>
                <a:gd name="T9" fmla="*/ 3 h 5"/>
                <a:gd name="T10" fmla="*/ 3 w 55"/>
                <a:gd name="T11" fmla="*/ 0 h 5"/>
                <a:gd name="T12" fmla="*/ 52 w 55"/>
                <a:gd name="T13" fmla="*/ 0 h 5"/>
                <a:gd name="T14" fmla="*/ 55 w 55"/>
                <a:gd name="T15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5" h="5">
                  <a:moveTo>
                    <a:pt x="55" y="3"/>
                  </a:moveTo>
                  <a:cubicBezTo>
                    <a:pt x="55" y="4"/>
                    <a:pt x="54" y="5"/>
                    <a:pt x="52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1" y="5"/>
                    <a:pt x="0" y="4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54" y="0"/>
                    <a:pt x="55" y="1"/>
                    <a:pt x="55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21" name="深度视觉·原创设计 https://www.docer.com/works?userid=22383862"/>
            <p:cNvSpPr>
              <a:spLocks noEditPoints="1"/>
            </p:cNvSpPr>
            <p:nvPr/>
          </p:nvSpPr>
          <p:spPr bwMode="auto">
            <a:xfrm>
              <a:off x="5122863" y="2627313"/>
              <a:ext cx="385763" cy="479425"/>
            </a:xfrm>
            <a:custGeom>
              <a:avLst/>
              <a:gdLst>
                <a:gd name="T0" fmla="*/ 41 w 128"/>
                <a:gd name="T1" fmla="*/ 159 h 159"/>
                <a:gd name="T2" fmla="*/ 39 w 128"/>
                <a:gd name="T3" fmla="*/ 159 h 159"/>
                <a:gd name="T4" fmla="*/ 37 w 128"/>
                <a:gd name="T5" fmla="*/ 158 h 159"/>
                <a:gd name="T6" fmla="*/ 29 w 128"/>
                <a:gd name="T7" fmla="*/ 145 h 159"/>
                <a:gd name="T8" fmla="*/ 28 w 128"/>
                <a:gd name="T9" fmla="*/ 139 h 159"/>
                <a:gd name="T10" fmla="*/ 27 w 128"/>
                <a:gd name="T11" fmla="*/ 132 h 159"/>
                <a:gd name="T12" fmla="*/ 19 w 128"/>
                <a:gd name="T13" fmla="*/ 116 h 159"/>
                <a:gd name="T14" fmla="*/ 17 w 128"/>
                <a:gd name="T15" fmla="*/ 112 h 159"/>
                <a:gd name="T16" fmla="*/ 16 w 128"/>
                <a:gd name="T17" fmla="*/ 110 h 159"/>
                <a:gd name="T18" fmla="*/ 6 w 128"/>
                <a:gd name="T19" fmla="*/ 92 h 159"/>
                <a:gd name="T20" fmla="*/ 0 w 128"/>
                <a:gd name="T21" fmla="*/ 64 h 159"/>
                <a:gd name="T22" fmla="*/ 0 w 128"/>
                <a:gd name="T23" fmla="*/ 60 h 159"/>
                <a:gd name="T24" fmla="*/ 6 w 128"/>
                <a:gd name="T25" fmla="*/ 35 h 159"/>
                <a:gd name="T26" fmla="*/ 19 w 128"/>
                <a:gd name="T27" fmla="*/ 18 h 159"/>
                <a:gd name="T28" fmla="*/ 60 w 128"/>
                <a:gd name="T29" fmla="*/ 0 h 159"/>
                <a:gd name="T30" fmla="*/ 65 w 128"/>
                <a:gd name="T31" fmla="*/ 0 h 159"/>
                <a:gd name="T32" fmla="*/ 109 w 128"/>
                <a:gd name="T33" fmla="*/ 18 h 159"/>
                <a:gd name="T34" fmla="*/ 128 w 128"/>
                <a:gd name="T35" fmla="*/ 62 h 159"/>
                <a:gd name="T36" fmla="*/ 128 w 128"/>
                <a:gd name="T37" fmla="*/ 64 h 159"/>
                <a:gd name="T38" fmla="*/ 114 w 128"/>
                <a:gd name="T39" fmla="*/ 107 h 159"/>
                <a:gd name="T40" fmla="*/ 111 w 128"/>
                <a:gd name="T41" fmla="*/ 112 h 159"/>
                <a:gd name="T42" fmla="*/ 109 w 128"/>
                <a:gd name="T43" fmla="*/ 116 h 159"/>
                <a:gd name="T44" fmla="*/ 101 w 128"/>
                <a:gd name="T45" fmla="*/ 132 h 159"/>
                <a:gd name="T46" fmla="*/ 100 w 128"/>
                <a:gd name="T47" fmla="*/ 139 h 159"/>
                <a:gd name="T48" fmla="*/ 92 w 128"/>
                <a:gd name="T49" fmla="*/ 158 h 159"/>
                <a:gd name="T50" fmla="*/ 90 w 128"/>
                <a:gd name="T51" fmla="*/ 159 h 159"/>
                <a:gd name="T52" fmla="*/ 86 w 128"/>
                <a:gd name="T53" fmla="*/ 159 h 159"/>
                <a:gd name="T54" fmla="*/ 73 w 128"/>
                <a:gd name="T55" fmla="*/ 159 h 159"/>
                <a:gd name="T56" fmla="*/ 60 w 128"/>
                <a:gd name="T57" fmla="*/ 159 h 159"/>
                <a:gd name="T58" fmla="*/ 41 w 128"/>
                <a:gd name="T59" fmla="*/ 159 h 159"/>
                <a:gd name="T60" fmla="*/ 65 w 128"/>
                <a:gd name="T61" fmla="*/ 11 h 159"/>
                <a:gd name="T62" fmla="*/ 61 w 128"/>
                <a:gd name="T63" fmla="*/ 11 h 159"/>
                <a:gd name="T64" fmla="*/ 27 w 128"/>
                <a:gd name="T65" fmla="*/ 26 h 159"/>
                <a:gd name="T66" fmla="*/ 16 w 128"/>
                <a:gd name="T67" fmla="*/ 40 h 159"/>
                <a:gd name="T68" fmla="*/ 11 w 128"/>
                <a:gd name="T69" fmla="*/ 60 h 159"/>
                <a:gd name="T70" fmla="*/ 11 w 128"/>
                <a:gd name="T71" fmla="*/ 64 h 159"/>
                <a:gd name="T72" fmla="*/ 16 w 128"/>
                <a:gd name="T73" fmla="*/ 87 h 159"/>
                <a:gd name="T74" fmla="*/ 25 w 128"/>
                <a:gd name="T75" fmla="*/ 105 h 159"/>
                <a:gd name="T76" fmla="*/ 27 w 128"/>
                <a:gd name="T77" fmla="*/ 107 h 159"/>
                <a:gd name="T78" fmla="*/ 29 w 128"/>
                <a:gd name="T79" fmla="*/ 111 h 159"/>
                <a:gd name="T80" fmla="*/ 37 w 128"/>
                <a:gd name="T81" fmla="*/ 129 h 159"/>
                <a:gd name="T82" fmla="*/ 39 w 128"/>
                <a:gd name="T83" fmla="*/ 138 h 159"/>
                <a:gd name="T84" fmla="*/ 40 w 128"/>
                <a:gd name="T85" fmla="*/ 143 h 159"/>
                <a:gd name="T86" fmla="*/ 43 w 128"/>
                <a:gd name="T87" fmla="*/ 148 h 159"/>
                <a:gd name="T88" fmla="*/ 60 w 128"/>
                <a:gd name="T89" fmla="*/ 148 h 159"/>
                <a:gd name="T90" fmla="*/ 73 w 128"/>
                <a:gd name="T91" fmla="*/ 148 h 159"/>
                <a:gd name="T92" fmla="*/ 86 w 128"/>
                <a:gd name="T93" fmla="*/ 148 h 159"/>
                <a:gd name="T94" fmla="*/ 89 w 128"/>
                <a:gd name="T95" fmla="*/ 138 h 159"/>
                <a:gd name="T96" fmla="*/ 91 w 128"/>
                <a:gd name="T97" fmla="*/ 128 h 159"/>
                <a:gd name="T98" fmla="*/ 99 w 128"/>
                <a:gd name="T99" fmla="*/ 111 h 159"/>
                <a:gd name="T100" fmla="*/ 101 w 128"/>
                <a:gd name="T101" fmla="*/ 107 h 159"/>
                <a:gd name="T102" fmla="*/ 104 w 128"/>
                <a:gd name="T103" fmla="*/ 101 h 159"/>
                <a:gd name="T104" fmla="*/ 117 w 128"/>
                <a:gd name="T105" fmla="*/ 63 h 159"/>
                <a:gd name="T106" fmla="*/ 117 w 128"/>
                <a:gd name="T107" fmla="*/ 62 h 159"/>
                <a:gd name="T108" fmla="*/ 102 w 128"/>
                <a:gd name="T109" fmla="*/ 26 h 159"/>
                <a:gd name="T110" fmla="*/ 65 w 128"/>
                <a:gd name="T111" fmla="*/ 11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8" h="159">
                  <a:moveTo>
                    <a:pt x="41" y="159"/>
                  </a:moveTo>
                  <a:cubicBezTo>
                    <a:pt x="39" y="159"/>
                    <a:pt x="39" y="159"/>
                    <a:pt x="39" y="159"/>
                  </a:cubicBezTo>
                  <a:cubicBezTo>
                    <a:pt x="37" y="158"/>
                    <a:pt x="37" y="158"/>
                    <a:pt x="37" y="158"/>
                  </a:cubicBezTo>
                  <a:cubicBezTo>
                    <a:pt x="33" y="155"/>
                    <a:pt x="29" y="151"/>
                    <a:pt x="29" y="145"/>
                  </a:cubicBezTo>
                  <a:cubicBezTo>
                    <a:pt x="28" y="143"/>
                    <a:pt x="28" y="141"/>
                    <a:pt x="28" y="139"/>
                  </a:cubicBezTo>
                  <a:cubicBezTo>
                    <a:pt x="28" y="137"/>
                    <a:pt x="27" y="134"/>
                    <a:pt x="27" y="132"/>
                  </a:cubicBezTo>
                  <a:cubicBezTo>
                    <a:pt x="25" y="126"/>
                    <a:pt x="22" y="121"/>
                    <a:pt x="19" y="116"/>
                  </a:cubicBezTo>
                  <a:cubicBezTo>
                    <a:pt x="19" y="115"/>
                    <a:pt x="18" y="114"/>
                    <a:pt x="17" y="112"/>
                  </a:cubicBezTo>
                  <a:cubicBezTo>
                    <a:pt x="16" y="110"/>
                    <a:pt x="16" y="110"/>
                    <a:pt x="16" y="110"/>
                  </a:cubicBezTo>
                  <a:cubicBezTo>
                    <a:pt x="12" y="104"/>
                    <a:pt x="9" y="98"/>
                    <a:pt x="6" y="92"/>
                  </a:cubicBezTo>
                  <a:cubicBezTo>
                    <a:pt x="3" y="84"/>
                    <a:pt x="1" y="76"/>
                    <a:pt x="0" y="64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0" y="51"/>
                    <a:pt x="2" y="43"/>
                    <a:pt x="6" y="35"/>
                  </a:cubicBezTo>
                  <a:cubicBezTo>
                    <a:pt x="9" y="28"/>
                    <a:pt x="14" y="23"/>
                    <a:pt x="19" y="18"/>
                  </a:cubicBezTo>
                  <a:cubicBezTo>
                    <a:pt x="30" y="6"/>
                    <a:pt x="44" y="0"/>
                    <a:pt x="60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83" y="1"/>
                    <a:pt x="98" y="7"/>
                    <a:pt x="109" y="18"/>
                  </a:cubicBezTo>
                  <a:cubicBezTo>
                    <a:pt x="121" y="30"/>
                    <a:pt x="128" y="44"/>
                    <a:pt x="128" y="62"/>
                  </a:cubicBezTo>
                  <a:cubicBezTo>
                    <a:pt x="128" y="64"/>
                    <a:pt x="128" y="64"/>
                    <a:pt x="128" y="64"/>
                  </a:cubicBezTo>
                  <a:cubicBezTo>
                    <a:pt x="127" y="82"/>
                    <a:pt x="120" y="95"/>
                    <a:pt x="114" y="107"/>
                  </a:cubicBezTo>
                  <a:cubicBezTo>
                    <a:pt x="113" y="108"/>
                    <a:pt x="112" y="110"/>
                    <a:pt x="111" y="112"/>
                  </a:cubicBezTo>
                  <a:cubicBezTo>
                    <a:pt x="110" y="113"/>
                    <a:pt x="110" y="114"/>
                    <a:pt x="109" y="116"/>
                  </a:cubicBezTo>
                  <a:cubicBezTo>
                    <a:pt x="106" y="121"/>
                    <a:pt x="103" y="126"/>
                    <a:pt x="101" y="132"/>
                  </a:cubicBezTo>
                  <a:cubicBezTo>
                    <a:pt x="101" y="134"/>
                    <a:pt x="100" y="137"/>
                    <a:pt x="100" y="139"/>
                  </a:cubicBezTo>
                  <a:cubicBezTo>
                    <a:pt x="99" y="146"/>
                    <a:pt x="98" y="154"/>
                    <a:pt x="92" y="158"/>
                  </a:cubicBezTo>
                  <a:cubicBezTo>
                    <a:pt x="90" y="159"/>
                    <a:pt x="90" y="159"/>
                    <a:pt x="90" y="159"/>
                  </a:cubicBezTo>
                  <a:cubicBezTo>
                    <a:pt x="86" y="159"/>
                    <a:pt x="86" y="159"/>
                    <a:pt x="86" y="159"/>
                  </a:cubicBezTo>
                  <a:cubicBezTo>
                    <a:pt x="82" y="159"/>
                    <a:pt x="77" y="159"/>
                    <a:pt x="73" y="159"/>
                  </a:cubicBezTo>
                  <a:cubicBezTo>
                    <a:pt x="69" y="159"/>
                    <a:pt x="64" y="159"/>
                    <a:pt x="60" y="159"/>
                  </a:cubicBezTo>
                  <a:cubicBezTo>
                    <a:pt x="53" y="159"/>
                    <a:pt x="47" y="159"/>
                    <a:pt x="41" y="159"/>
                  </a:cubicBezTo>
                  <a:close/>
                  <a:moveTo>
                    <a:pt x="65" y="11"/>
                  </a:moveTo>
                  <a:cubicBezTo>
                    <a:pt x="61" y="11"/>
                    <a:pt x="61" y="11"/>
                    <a:pt x="61" y="11"/>
                  </a:cubicBezTo>
                  <a:cubicBezTo>
                    <a:pt x="47" y="11"/>
                    <a:pt x="36" y="16"/>
                    <a:pt x="27" y="26"/>
                  </a:cubicBezTo>
                  <a:cubicBezTo>
                    <a:pt x="23" y="30"/>
                    <a:pt x="19" y="34"/>
                    <a:pt x="16" y="40"/>
                  </a:cubicBezTo>
                  <a:cubicBezTo>
                    <a:pt x="13" y="47"/>
                    <a:pt x="12" y="53"/>
                    <a:pt x="11" y="60"/>
                  </a:cubicBezTo>
                  <a:cubicBezTo>
                    <a:pt x="11" y="64"/>
                    <a:pt x="11" y="64"/>
                    <a:pt x="11" y="64"/>
                  </a:cubicBezTo>
                  <a:cubicBezTo>
                    <a:pt x="12" y="74"/>
                    <a:pt x="13" y="81"/>
                    <a:pt x="16" y="87"/>
                  </a:cubicBezTo>
                  <a:cubicBezTo>
                    <a:pt x="19" y="93"/>
                    <a:pt x="22" y="99"/>
                    <a:pt x="25" y="105"/>
                  </a:cubicBezTo>
                  <a:cubicBezTo>
                    <a:pt x="27" y="107"/>
                    <a:pt x="27" y="107"/>
                    <a:pt x="27" y="107"/>
                  </a:cubicBezTo>
                  <a:cubicBezTo>
                    <a:pt x="27" y="108"/>
                    <a:pt x="28" y="109"/>
                    <a:pt x="29" y="111"/>
                  </a:cubicBezTo>
                  <a:cubicBezTo>
                    <a:pt x="32" y="116"/>
                    <a:pt x="36" y="122"/>
                    <a:pt x="37" y="129"/>
                  </a:cubicBezTo>
                  <a:cubicBezTo>
                    <a:pt x="38" y="132"/>
                    <a:pt x="39" y="135"/>
                    <a:pt x="39" y="138"/>
                  </a:cubicBezTo>
                  <a:cubicBezTo>
                    <a:pt x="39" y="140"/>
                    <a:pt x="39" y="141"/>
                    <a:pt x="40" y="143"/>
                  </a:cubicBezTo>
                  <a:cubicBezTo>
                    <a:pt x="40" y="145"/>
                    <a:pt x="41" y="147"/>
                    <a:pt x="43" y="148"/>
                  </a:cubicBezTo>
                  <a:cubicBezTo>
                    <a:pt x="48" y="148"/>
                    <a:pt x="54" y="148"/>
                    <a:pt x="60" y="148"/>
                  </a:cubicBezTo>
                  <a:cubicBezTo>
                    <a:pt x="64" y="148"/>
                    <a:pt x="69" y="148"/>
                    <a:pt x="73" y="148"/>
                  </a:cubicBezTo>
                  <a:cubicBezTo>
                    <a:pt x="77" y="148"/>
                    <a:pt x="82" y="148"/>
                    <a:pt x="86" y="148"/>
                  </a:cubicBezTo>
                  <a:cubicBezTo>
                    <a:pt x="88" y="146"/>
                    <a:pt x="88" y="142"/>
                    <a:pt x="89" y="138"/>
                  </a:cubicBezTo>
                  <a:cubicBezTo>
                    <a:pt x="89" y="134"/>
                    <a:pt x="90" y="131"/>
                    <a:pt x="91" y="128"/>
                  </a:cubicBezTo>
                  <a:cubicBezTo>
                    <a:pt x="93" y="122"/>
                    <a:pt x="96" y="116"/>
                    <a:pt x="99" y="111"/>
                  </a:cubicBezTo>
                  <a:cubicBezTo>
                    <a:pt x="100" y="109"/>
                    <a:pt x="101" y="108"/>
                    <a:pt x="101" y="107"/>
                  </a:cubicBezTo>
                  <a:cubicBezTo>
                    <a:pt x="102" y="105"/>
                    <a:pt x="103" y="103"/>
                    <a:pt x="104" y="101"/>
                  </a:cubicBezTo>
                  <a:cubicBezTo>
                    <a:pt x="110" y="90"/>
                    <a:pt x="116" y="79"/>
                    <a:pt x="117" y="63"/>
                  </a:cubicBezTo>
                  <a:cubicBezTo>
                    <a:pt x="117" y="62"/>
                    <a:pt x="117" y="62"/>
                    <a:pt x="117" y="62"/>
                  </a:cubicBezTo>
                  <a:cubicBezTo>
                    <a:pt x="117" y="48"/>
                    <a:pt x="111" y="36"/>
                    <a:pt x="102" y="26"/>
                  </a:cubicBezTo>
                  <a:cubicBezTo>
                    <a:pt x="92" y="17"/>
                    <a:pt x="80" y="12"/>
                    <a:pt x="65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</p:grpSp>
      <p:grpSp>
        <p:nvGrpSpPr>
          <p:cNvPr id="22" name="深度视觉·原创设计 https://www.docer.com/works?userid=22383862"/>
          <p:cNvGrpSpPr/>
          <p:nvPr/>
        </p:nvGrpSpPr>
        <p:grpSpPr>
          <a:xfrm>
            <a:off x="5146676" y="4246036"/>
            <a:ext cx="508000" cy="446088"/>
            <a:chOff x="5146676" y="4165600"/>
            <a:chExt cx="508000" cy="446088"/>
          </a:xfrm>
          <a:solidFill>
            <a:schemeClr val="bg1"/>
          </a:solidFill>
        </p:grpSpPr>
        <p:sp>
          <p:nvSpPr>
            <p:cNvPr id="23" name="深度视觉·原创设计 https://www.docer.com/works?userid=22383862"/>
            <p:cNvSpPr/>
            <p:nvPr/>
          </p:nvSpPr>
          <p:spPr bwMode="auto">
            <a:xfrm>
              <a:off x="5265738" y="4165600"/>
              <a:ext cx="215900" cy="244475"/>
            </a:xfrm>
            <a:custGeom>
              <a:avLst/>
              <a:gdLst>
                <a:gd name="T0" fmla="*/ 67 w 72"/>
                <a:gd name="T1" fmla="*/ 36 h 81"/>
                <a:gd name="T2" fmla="*/ 36 w 72"/>
                <a:gd name="T3" fmla="*/ 0 h 81"/>
                <a:gd name="T4" fmla="*/ 5 w 72"/>
                <a:gd name="T5" fmla="*/ 37 h 81"/>
                <a:gd name="T6" fmla="*/ 0 w 72"/>
                <a:gd name="T7" fmla="*/ 45 h 81"/>
                <a:gd name="T8" fmla="*/ 5 w 72"/>
                <a:gd name="T9" fmla="*/ 54 h 81"/>
                <a:gd name="T10" fmla="*/ 6 w 72"/>
                <a:gd name="T11" fmla="*/ 54 h 81"/>
                <a:gd name="T12" fmla="*/ 36 w 72"/>
                <a:gd name="T13" fmla="*/ 81 h 81"/>
                <a:gd name="T14" fmla="*/ 66 w 72"/>
                <a:gd name="T15" fmla="*/ 53 h 81"/>
                <a:gd name="T16" fmla="*/ 67 w 72"/>
                <a:gd name="T17" fmla="*/ 53 h 81"/>
                <a:gd name="T18" fmla="*/ 72 w 72"/>
                <a:gd name="T19" fmla="*/ 44 h 81"/>
                <a:gd name="T20" fmla="*/ 67 w 72"/>
                <a:gd name="T21" fmla="*/ 36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2" h="81">
                  <a:moveTo>
                    <a:pt x="67" y="36"/>
                  </a:moveTo>
                  <a:cubicBezTo>
                    <a:pt x="65" y="16"/>
                    <a:pt x="52" y="0"/>
                    <a:pt x="36" y="0"/>
                  </a:cubicBezTo>
                  <a:cubicBezTo>
                    <a:pt x="19" y="0"/>
                    <a:pt x="6" y="16"/>
                    <a:pt x="5" y="37"/>
                  </a:cubicBezTo>
                  <a:cubicBezTo>
                    <a:pt x="2" y="38"/>
                    <a:pt x="0" y="41"/>
                    <a:pt x="0" y="45"/>
                  </a:cubicBezTo>
                  <a:cubicBezTo>
                    <a:pt x="0" y="50"/>
                    <a:pt x="2" y="54"/>
                    <a:pt x="5" y="54"/>
                  </a:cubicBezTo>
                  <a:cubicBezTo>
                    <a:pt x="6" y="54"/>
                    <a:pt x="6" y="54"/>
                    <a:pt x="6" y="54"/>
                  </a:cubicBezTo>
                  <a:cubicBezTo>
                    <a:pt x="11" y="69"/>
                    <a:pt x="22" y="81"/>
                    <a:pt x="36" y="81"/>
                  </a:cubicBezTo>
                  <a:cubicBezTo>
                    <a:pt x="50" y="81"/>
                    <a:pt x="62" y="69"/>
                    <a:pt x="66" y="53"/>
                  </a:cubicBezTo>
                  <a:cubicBezTo>
                    <a:pt x="66" y="53"/>
                    <a:pt x="67" y="53"/>
                    <a:pt x="67" y="53"/>
                  </a:cubicBezTo>
                  <a:cubicBezTo>
                    <a:pt x="70" y="53"/>
                    <a:pt x="72" y="49"/>
                    <a:pt x="72" y="44"/>
                  </a:cubicBezTo>
                  <a:cubicBezTo>
                    <a:pt x="72" y="40"/>
                    <a:pt x="70" y="36"/>
                    <a:pt x="67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24" name="深度视觉·原创设计 https://www.docer.com/works?userid=22383862"/>
            <p:cNvSpPr/>
            <p:nvPr/>
          </p:nvSpPr>
          <p:spPr bwMode="auto">
            <a:xfrm>
              <a:off x="5146676" y="4403725"/>
              <a:ext cx="296863" cy="187325"/>
            </a:xfrm>
            <a:custGeom>
              <a:avLst/>
              <a:gdLst>
                <a:gd name="T0" fmla="*/ 94 w 98"/>
                <a:gd name="T1" fmla="*/ 4 h 62"/>
                <a:gd name="T2" fmla="*/ 77 w 98"/>
                <a:gd name="T3" fmla="*/ 45 h 62"/>
                <a:gd name="T4" fmla="*/ 54 w 98"/>
                <a:gd name="T5" fmla="*/ 1 h 62"/>
                <a:gd name="T6" fmla="*/ 7 w 98"/>
                <a:gd name="T7" fmla="*/ 20 h 62"/>
                <a:gd name="T8" fmla="*/ 2 w 98"/>
                <a:gd name="T9" fmla="*/ 62 h 62"/>
                <a:gd name="T10" fmla="*/ 72 w 98"/>
                <a:gd name="T11" fmla="*/ 62 h 62"/>
                <a:gd name="T12" fmla="*/ 98 w 98"/>
                <a:gd name="T13" fmla="*/ 40 h 62"/>
                <a:gd name="T14" fmla="*/ 94 w 98"/>
                <a:gd name="T15" fmla="*/ 4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8" h="62">
                  <a:moveTo>
                    <a:pt x="94" y="4"/>
                  </a:moveTo>
                  <a:cubicBezTo>
                    <a:pt x="77" y="45"/>
                    <a:pt x="77" y="45"/>
                    <a:pt x="77" y="45"/>
                  </a:cubicBezTo>
                  <a:cubicBezTo>
                    <a:pt x="54" y="1"/>
                    <a:pt x="54" y="1"/>
                    <a:pt x="54" y="1"/>
                  </a:cubicBezTo>
                  <a:cubicBezTo>
                    <a:pt x="36" y="0"/>
                    <a:pt x="15" y="7"/>
                    <a:pt x="7" y="20"/>
                  </a:cubicBezTo>
                  <a:cubicBezTo>
                    <a:pt x="0" y="33"/>
                    <a:pt x="2" y="62"/>
                    <a:pt x="2" y="62"/>
                  </a:cubicBezTo>
                  <a:cubicBezTo>
                    <a:pt x="72" y="62"/>
                    <a:pt x="72" y="62"/>
                    <a:pt x="72" y="62"/>
                  </a:cubicBezTo>
                  <a:cubicBezTo>
                    <a:pt x="98" y="40"/>
                    <a:pt x="98" y="40"/>
                    <a:pt x="98" y="40"/>
                  </a:cubicBezTo>
                  <a:cubicBezTo>
                    <a:pt x="90" y="34"/>
                    <a:pt x="94" y="4"/>
                    <a:pt x="9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25" name="深度视觉·原创设计 https://www.docer.com/works?userid=22383862"/>
            <p:cNvSpPr>
              <a:spLocks noChangeArrowheads="1"/>
            </p:cNvSpPr>
            <p:nvPr/>
          </p:nvSpPr>
          <p:spPr bwMode="auto">
            <a:xfrm>
              <a:off x="5410201" y="4364038"/>
              <a:ext cx="244475" cy="247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26" name="深度视觉·原创设计 https://www.docer.com/works?userid=22383862"/>
            <p:cNvSpPr>
              <a:spLocks noEditPoints="1"/>
            </p:cNvSpPr>
            <p:nvPr/>
          </p:nvSpPr>
          <p:spPr bwMode="auto">
            <a:xfrm>
              <a:off x="5476876" y="4406900"/>
              <a:ext cx="114300" cy="161925"/>
            </a:xfrm>
            <a:custGeom>
              <a:avLst/>
              <a:gdLst>
                <a:gd name="T0" fmla="*/ 16 w 38"/>
                <a:gd name="T1" fmla="*/ 0 h 54"/>
                <a:gd name="T2" fmla="*/ 21 w 38"/>
                <a:gd name="T3" fmla="*/ 0 h 54"/>
                <a:gd name="T4" fmla="*/ 21 w 38"/>
                <a:gd name="T5" fmla="*/ 3 h 54"/>
                <a:gd name="T6" fmla="*/ 37 w 38"/>
                <a:gd name="T7" fmla="*/ 17 h 54"/>
                <a:gd name="T8" fmla="*/ 26 w 38"/>
                <a:gd name="T9" fmla="*/ 17 h 54"/>
                <a:gd name="T10" fmla="*/ 21 w 38"/>
                <a:gd name="T11" fmla="*/ 12 h 54"/>
                <a:gd name="T12" fmla="*/ 21 w 38"/>
                <a:gd name="T13" fmla="*/ 20 h 54"/>
                <a:gd name="T14" fmla="*/ 38 w 38"/>
                <a:gd name="T15" fmla="*/ 35 h 54"/>
                <a:gd name="T16" fmla="*/ 21 w 38"/>
                <a:gd name="T17" fmla="*/ 48 h 54"/>
                <a:gd name="T18" fmla="*/ 21 w 38"/>
                <a:gd name="T19" fmla="*/ 54 h 54"/>
                <a:gd name="T20" fmla="*/ 16 w 38"/>
                <a:gd name="T21" fmla="*/ 54 h 54"/>
                <a:gd name="T22" fmla="*/ 16 w 38"/>
                <a:gd name="T23" fmla="*/ 48 h 54"/>
                <a:gd name="T24" fmla="*/ 0 w 38"/>
                <a:gd name="T25" fmla="*/ 34 h 54"/>
                <a:gd name="T26" fmla="*/ 11 w 38"/>
                <a:gd name="T27" fmla="*/ 34 h 54"/>
                <a:gd name="T28" fmla="*/ 16 w 38"/>
                <a:gd name="T29" fmla="*/ 40 h 54"/>
                <a:gd name="T30" fmla="*/ 16 w 38"/>
                <a:gd name="T31" fmla="*/ 30 h 54"/>
                <a:gd name="T32" fmla="*/ 0 w 38"/>
                <a:gd name="T33" fmla="*/ 17 h 54"/>
                <a:gd name="T34" fmla="*/ 16 w 38"/>
                <a:gd name="T35" fmla="*/ 3 h 54"/>
                <a:gd name="T36" fmla="*/ 16 w 38"/>
                <a:gd name="T37" fmla="*/ 0 h 54"/>
                <a:gd name="T38" fmla="*/ 16 w 38"/>
                <a:gd name="T39" fmla="*/ 12 h 54"/>
                <a:gd name="T40" fmla="*/ 11 w 38"/>
                <a:gd name="T41" fmla="*/ 15 h 54"/>
                <a:gd name="T42" fmla="*/ 16 w 38"/>
                <a:gd name="T43" fmla="*/ 19 h 54"/>
                <a:gd name="T44" fmla="*/ 16 w 38"/>
                <a:gd name="T45" fmla="*/ 12 h 54"/>
                <a:gd name="T46" fmla="*/ 21 w 38"/>
                <a:gd name="T47" fmla="*/ 40 h 54"/>
                <a:gd name="T48" fmla="*/ 26 w 38"/>
                <a:gd name="T49" fmla="*/ 36 h 54"/>
                <a:gd name="T50" fmla="*/ 21 w 38"/>
                <a:gd name="T51" fmla="*/ 31 h 54"/>
                <a:gd name="T52" fmla="*/ 21 w 38"/>
                <a:gd name="T53" fmla="*/ 4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8" h="54">
                  <a:moveTo>
                    <a:pt x="16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9" y="4"/>
                    <a:pt x="37" y="7"/>
                    <a:pt x="37" y="17"/>
                  </a:cubicBezTo>
                  <a:cubicBezTo>
                    <a:pt x="26" y="17"/>
                    <a:pt x="26" y="17"/>
                    <a:pt x="26" y="17"/>
                  </a:cubicBezTo>
                  <a:cubicBezTo>
                    <a:pt x="26" y="14"/>
                    <a:pt x="24" y="12"/>
                    <a:pt x="21" y="12"/>
                  </a:cubicBezTo>
                  <a:cubicBezTo>
                    <a:pt x="21" y="20"/>
                    <a:pt x="21" y="20"/>
                    <a:pt x="21" y="20"/>
                  </a:cubicBezTo>
                  <a:cubicBezTo>
                    <a:pt x="30" y="23"/>
                    <a:pt x="38" y="26"/>
                    <a:pt x="38" y="35"/>
                  </a:cubicBezTo>
                  <a:cubicBezTo>
                    <a:pt x="38" y="45"/>
                    <a:pt x="30" y="48"/>
                    <a:pt x="21" y="48"/>
                  </a:cubicBezTo>
                  <a:cubicBezTo>
                    <a:pt x="21" y="54"/>
                    <a:pt x="21" y="54"/>
                    <a:pt x="21" y="54"/>
                  </a:cubicBezTo>
                  <a:cubicBezTo>
                    <a:pt x="16" y="54"/>
                    <a:pt x="16" y="54"/>
                    <a:pt x="16" y="54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7" y="48"/>
                    <a:pt x="0" y="43"/>
                    <a:pt x="0" y="34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7"/>
                    <a:pt x="13" y="39"/>
                    <a:pt x="16" y="40"/>
                  </a:cubicBezTo>
                  <a:cubicBezTo>
                    <a:pt x="16" y="30"/>
                    <a:pt x="16" y="30"/>
                    <a:pt x="16" y="30"/>
                  </a:cubicBezTo>
                  <a:cubicBezTo>
                    <a:pt x="7" y="28"/>
                    <a:pt x="0" y="26"/>
                    <a:pt x="0" y="17"/>
                  </a:cubicBezTo>
                  <a:cubicBezTo>
                    <a:pt x="0" y="7"/>
                    <a:pt x="8" y="5"/>
                    <a:pt x="16" y="3"/>
                  </a:cubicBezTo>
                  <a:lnTo>
                    <a:pt x="16" y="0"/>
                  </a:lnTo>
                  <a:close/>
                  <a:moveTo>
                    <a:pt x="16" y="12"/>
                  </a:moveTo>
                  <a:cubicBezTo>
                    <a:pt x="14" y="12"/>
                    <a:pt x="11" y="13"/>
                    <a:pt x="11" y="15"/>
                  </a:cubicBezTo>
                  <a:cubicBezTo>
                    <a:pt x="11" y="18"/>
                    <a:pt x="14" y="19"/>
                    <a:pt x="16" y="19"/>
                  </a:cubicBezTo>
                  <a:lnTo>
                    <a:pt x="16" y="12"/>
                  </a:lnTo>
                  <a:close/>
                  <a:moveTo>
                    <a:pt x="21" y="40"/>
                  </a:moveTo>
                  <a:cubicBezTo>
                    <a:pt x="24" y="40"/>
                    <a:pt x="26" y="39"/>
                    <a:pt x="26" y="36"/>
                  </a:cubicBezTo>
                  <a:cubicBezTo>
                    <a:pt x="26" y="34"/>
                    <a:pt x="24" y="32"/>
                    <a:pt x="21" y="31"/>
                  </a:cubicBezTo>
                  <a:lnTo>
                    <a:pt x="21" y="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</p:grpSp>
      <p:grpSp>
        <p:nvGrpSpPr>
          <p:cNvPr id="27" name="深度视觉·原创设计 https://www.docer.com/works?userid=22383862"/>
          <p:cNvGrpSpPr/>
          <p:nvPr/>
        </p:nvGrpSpPr>
        <p:grpSpPr>
          <a:xfrm>
            <a:off x="6677026" y="4293661"/>
            <a:ext cx="349250" cy="384176"/>
            <a:chOff x="6677026" y="4213225"/>
            <a:chExt cx="349250" cy="384176"/>
          </a:xfrm>
          <a:solidFill>
            <a:schemeClr val="bg1"/>
          </a:solidFill>
        </p:grpSpPr>
        <p:sp>
          <p:nvSpPr>
            <p:cNvPr id="28" name="深度视觉·原创设计 https://www.docer.com/works?userid=22383862"/>
            <p:cNvSpPr/>
            <p:nvPr/>
          </p:nvSpPr>
          <p:spPr bwMode="auto">
            <a:xfrm>
              <a:off x="6677026" y="4213225"/>
              <a:ext cx="349250" cy="33338"/>
            </a:xfrm>
            <a:custGeom>
              <a:avLst/>
              <a:gdLst>
                <a:gd name="T0" fmla="*/ 116 w 116"/>
                <a:gd name="T1" fmla="*/ 8 h 11"/>
                <a:gd name="T2" fmla="*/ 111 w 116"/>
                <a:gd name="T3" fmla="*/ 11 h 11"/>
                <a:gd name="T4" fmla="*/ 5 w 116"/>
                <a:gd name="T5" fmla="*/ 11 h 11"/>
                <a:gd name="T6" fmla="*/ 0 w 116"/>
                <a:gd name="T7" fmla="*/ 8 h 11"/>
                <a:gd name="T8" fmla="*/ 0 w 116"/>
                <a:gd name="T9" fmla="*/ 3 h 11"/>
                <a:gd name="T10" fmla="*/ 5 w 116"/>
                <a:gd name="T11" fmla="*/ 0 h 11"/>
                <a:gd name="T12" fmla="*/ 111 w 116"/>
                <a:gd name="T13" fmla="*/ 0 h 11"/>
                <a:gd name="T14" fmla="*/ 116 w 116"/>
                <a:gd name="T15" fmla="*/ 3 h 11"/>
                <a:gd name="T16" fmla="*/ 116 w 116"/>
                <a:gd name="T17" fmla="*/ 8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6" h="11">
                  <a:moveTo>
                    <a:pt x="116" y="8"/>
                  </a:moveTo>
                  <a:cubicBezTo>
                    <a:pt x="116" y="10"/>
                    <a:pt x="114" y="11"/>
                    <a:pt x="111" y="11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2" y="11"/>
                    <a:pt x="0" y="10"/>
                    <a:pt x="0" y="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114" y="0"/>
                    <a:pt x="116" y="2"/>
                    <a:pt x="116" y="3"/>
                  </a:cubicBezTo>
                  <a:lnTo>
                    <a:pt x="116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29" name="深度视觉·原创设计 https://www.docer.com/works?userid=22383862"/>
            <p:cNvSpPr>
              <a:spLocks noEditPoints="1"/>
            </p:cNvSpPr>
            <p:nvPr/>
          </p:nvSpPr>
          <p:spPr bwMode="auto">
            <a:xfrm>
              <a:off x="6694488" y="4265613"/>
              <a:ext cx="311150" cy="331788"/>
            </a:xfrm>
            <a:custGeom>
              <a:avLst/>
              <a:gdLst>
                <a:gd name="T0" fmla="*/ 93 w 103"/>
                <a:gd name="T1" fmla="*/ 100 h 110"/>
                <a:gd name="T2" fmla="*/ 53 w 103"/>
                <a:gd name="T3" fmla="*/ 59 h 110"/>
                <a:gd name="T4" fmla="*/ 100 w 103"/>
                <a:gd name="T5" fmla="*/ 0 h 110"/>
                <a:gd name="T6" fmla="*/ 4 w 103"/>
                <a:gd name="T7" fmla="*/ 59 h 110"/>
                <a:gd name="T8" fmla="*/ 49 w 103"/>
                <a:gd name="T9" fmla="*/ 76 h 110"/>
                <a:gd name="T10" fmla="*/ 6 w 103"/>
                <a:gd name="T11" fmla="*/ 98 h 110"/>
                <a:gd name="T12" fmla="*/ 6 w 103"/>
                <a:gd name="T13" fmla="*/ 110 h 110"/>
                <a:gd name="T14" fmla="*/ 12 w 103"/>
                <a:gd name="T15" fmla="*/ 102 h 110"/>
                <a:gd name="T16" fmla="*/ 49 w 103"/>
                <a:gd name="T17" fmla="*/ 97 h 110"/>
                <a:gd name="T18" fmla="*/ 51 w 103"/>
                <a:gd name="T19" fmla="*/ 108 h 110"/>
                <a:gd name="T20" fmla="*/ 53 w 103"/>
                <a:gd name="T21" fmla="*/ 97 h 110"/>
                <a:gd name="T22" fmla="*/ 91 w 103"/>
                <a:gd name="T23" fmla="*/ 102 h 110"/>
                <a:gd name="T24" fmla="*/ 97 w 103"/>
                <a:gd name="T25" fmla="*/ 110 h 110"/>
                <a:gd name="T26" fmla="*/ 97 w 103"/>
                <a:gd name="T27" fmla="*/ 98 h 110"/>
                <a:gd name="T28" fmla="*/ 74 w 103"/>
                <a:gd name="T29" fmla="*/ 10 h 110"/>
                <a:gd name="T30" fmla="*/ 83 w 103"/>
                <a:gd name="T31" fmla="*/ 12 h 110"/>
                <a:gd name="T32" fmla="*/ 72 w 103"/>
                <a:gd name="T33" fmla="*/ 45 h 110"/>
                <a:gd name="T34" fmla="*/ 56 w 103"/>
                <a:gd name="T35" fmla="*/ 26 h 110"/>
                <a:gd name="T36" fmla="*/ 65 w 103"/>
                <a:gd name="T37" fmla="*/ 24 h 110"/>
                <a:gd name="T38" fmla="*/ 66 w 103"/>
                <a:gd name="T39" fmla="*/ 45 h 110"/>
                <a:gd name="T40" fmla="*/ 56 w 103"/>
                <a:gd name="T41" fmla="*/ 26 h 110"/>
                <a:gd name="T42" fmla="*/ 41 w 103"/>
                <a:gd name="T43" fmla="*/ 31 h 110"/>
                <a:gd name="T44" fmla="*/ 50 w 103"/>
                <a:gd name="T45" fmla="*/ 33 h 110"/>
                <a:gd name="T46" fmla="*/ 39 w 103"/>
                <a:gd name="T47" fmla="*/ 45 h 110"/>
                <a:gd name="T48" fmla="*/ 23 w 103"/>
                <a:gd name="T49" fmla="*/ 37 h 110"/>
                <a:gd name="T50" fmla="*/ 32 w 103"/>
                <a:gd name="T51" fmla="*/ 36 h 110"/>
                <a:gd name="T52" fmla="*/ 34 w 103"/>
                <a:gd name="T53" fmla="*/ 45 h 110"/>
                <a:gd name="T54" fmla="*/ 23 w 103"/>
                <a:gd name="T55" fmla="*/ 37 h 110"/>
                <a:gd name="T56" fmla="*/ 16 w 103"/>
                <a:gd name="T57" fmla="*/ 52 h 110"/>
                <a:gd name="T58" fmla="*/ 14 w 103"/>
                <a:gd name="T59" fmla="*/ 10 h 110"/>
                <a:gd name="T60" fmla="*/ 18 w 103"/>
                <a:gd name="T61" fmla="*/ 10 h 110"/>
                <a:gd name="T62" fmla="*/ 87 w 103"/>
                <a:gd name="T63" fmla="*/ 49 h 110"/>
                <a:gd name="T64" fmla="*/ 87 w 103"/>
                <a:gd name="T65" fmla="*/ 52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3" h="110">
                  <a:moveTo>
                    <a:pt x="97" y="98"/>
                  </a:moveTo>
                  <a:cubicBezTo>
                    <a:pt x="96" y="98"/>
                    <a:pt x="94" y="99"/>
                    <a:pt x="93" y="100"/>
                  </a:cubicBezTo>
                  <a:cubicBezTo>
                    <a:pt x="53" y="76"/>
                    <a:pt x="53" y="76"/>
                    <a:pt x="53" y="76"/>
                  </a:cubicBezTo>
                  <a:cubicBezTo>
                    <a:pt x="53" y="59"/>
                    <a:pt x="53" y="59"/>
                    <a:pt x="53" y="59"/>
                  </a:cubicBezTo>
                  <a:cubicBezTo>
                    <a:pt x="100" y="59"/>
                    <a:pt x="100" y="59"/>
                    <a:pt x="100" y="59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59"/>
                    <a:pt x="4" y="59"/>
                    <a:pt x="4" y="59"/>
                  </a:cubicBezTo>
                  <a:cubicBezTo>
                    <a:pt x="49" y="59"/>
                    <a:pt x="49" y="59"/>
                    <a:pt x="49" y="59"/>
                  </a:cubicBezTo>
                  <a:cubicBezTo>
                    <a:pt x="49" y="76"/>
                    <a:pt x="49" y="76"/>
                    <a:pt x="49" y="76"/>
                  </a:cubicBezTo>
                  <a:cubicBezTo>
                    <a:pt x="10" y="100"/>
                    <a:pt x="10" y="100"/>
                    <a:pt x="10" y="100"/>
                  </a:cubicBezTo>
                  <a:cubicBezTo>
                    <a:pt x="9" y="99"/>
                    <a:pt x="8" y="98"/>
                    <a:pt x="6" y="98"/>
                  </a:cubicBezTo>
                  <a:cubicBezTo>
                    <a:pt x="3" y="98"/>
                    <a:pt x="0" y="101"/>
                    <a:pt x="0" y="104"/>
                  </a:cubicBezTo>
                  <a:cubicBezTo>
                    <a:pt x="0" y="107"/>
                    <a:pt x="3" y="110"/>
                    <a:pt x="6" y="110"/>
                  </a:cubicBezTo>
                  <a:cubicBezTo>
                    <a:pt x="9" y="110"/>
                    <a:pt x="12" y="107"/>
                    <a:pt x="12" y="104"/>
                  </a:cubicBezTo>
                  <a:cubicBezTo>
                    <a:pt x="12" y="103"/>
                    <a:pt x="12" y="103"/>
                    <a:pt x="12" y="102"/>
                  </a:cubicBezTo>
                  <a:cubicBezTo>
                    <a:pt x="49" y="80"/>
                    <a:pt x="49" y="80"/>
                    <a:pt x="49" y="80"/>
                  </a:cubicBezTo>
                  <a:cubicBezTo>
                    <a:pt x="49" y="97"/>
                    <a:pt x="49" y="97"/>
                    <a:pt x="49" y="97"/>
                  </a:cubicBezTo>
                  <a:cubicBezTo>
                    <a:pt x="47" y="98"/>
                    <a:pt x="45" y="100"/>
                    <a:pt x="45" y="103"/>
                  </a:cubicBezTo>
                  <a:cubicBezTo>
                    <a:pt x="45" y="106"/>
                    <a:pt x="48" y="108"/>
                    <a:pt x="51" y="108"/>
                  </a:cubicBezTo>
                  <a:cubicBezTo>
                    <a:pt x="54" y="108"/>
                    <a:pt x="57" y="106"/>
                    <a:pt x="57" y="103"/>
                  </a:cubicBezTo>
                  <a:cubicBezTo>
                    <a:pt x="57" y="100"/>
                    <a:pt x="55" y="98"/>
                    <a:pt x="53" y="97"/>
                  </a:cubicBezTo>
                  <a:cubicBezTo>
                    <a:pt x="53" y="79"/>
                    <a:pt x="53" y="79"/>
                    <a:pt x="53" y="79"/>
                  </a:cubicBezTo>
                  <a:cubicBezTo>
                    <a:pt x="91" y="102"/>
                    <a:pt x="91" y="102"/>
                    <a:pt x="91" y="102"/>
                  </a:cubicBezTo>
                  <a:cubicBezTo>
                    <a:pt x="91" y="103"/>
                    <a:pt x="91" y="103"/>
                    <a:pt x="91" y="104"/>
                  </a:cubicBezTo>
                  <a:cubicBezTo>
                    <a:pt x="91" y="107"/>
                    <a:pt x="94" y="110"/>
                    <a:pt x="97" y="110"/>
                  </a:cubicBezTo>
                  <a:cubicBezTo>
                    <a:pt x="100" y="110"/>
                    <a:pt x="103" y="107"/>
                    <a:pt x="103" y="104"/>
                  </a:cubicBezTo>
                  <a:cubicBezTo>
                    <a:pt x="103" y="101"/>
                    <a:pt x="100" y="98"/>
                    <a:pt x="97" y="98"/>
                  </a:cubicBezTo>
                  <a:close/>
                  <a:moveTo>
                    <a:pt x="72" y="12"/>
                  </a:moveTo>
                  <a:cubicBezTo>
                    <a:pt x="72" y="11"/>
                    <a:pt x="73" y="10"/>
                    <a:pt x="74" y="10"/>
                  </a:cubicBezTo>
                  <a:cubicBezTo>
                    <a:pt x="81" y="10"/>
                    <a:pt x="81" y="10"/>
                    <a:pt x="81" y="10"/>
                  </a:cubicBezTo>
                  <a:cubicBezTo>
                    <a:pt x="82" y="10"/>
                    <a:pt x="83" y="11"/>
                    <a:pt x="83" y="12"/>
                  </a:cubicBezTo>
                  <a:cubicBezTo>
                    <a:pt x="83" y="45"/>
                    <a:pt x="83" y="45"/>
                    <a:pt x="83" y="45"/>
                  </a:cubicBezTo>
                  <a:cubicBezTo>
                    <a:pt x="72" y="45"/>
                    <a:pt x="72" y="45"/>
                    <a:pt x="72" y="45"/>
                  </a:cubicBezTo>
                  <a:lnTo>
                    <a:pt x="72" y="12"/>
                  </a:lnTo>
                  <a:close/>
                  <a:moveTo>
                    <a:pt x="56" y="26"/>
                  </a:moveTo>
                  <a:cubicBezTo>
                    <a:pt x="56" y="25"/>
                    <a:pt x="56" y="24"/>
                    <a:pt x="57" y="24"/>
                  </a:cubicBezTo>
                  <a:cubicBezTo>
                    <a:pt x="65" y="24"/>
                    <a:pt x="65" y="24"/>
                    <a:pt x="65" y="24"/>
                  </a:cubicBezTo>
                  <a:cubicBezTo>
                    <a:pt x="66" y="24"/>
                    <a:pt x="66" y="25"/>
                    <a:pt x="66" y="26"/>
                  </a:cubicBezTo>
                  <a:cubicBezTo>
                    <a:pt x="66" y="45"/>
                    <a:pt x="66" y="45"/>
                    <a:pt x="66" y="45"/>
                  </a:cubicBezTo>
                  <a:cubicBezTo>
                    <a:pt x="56" y="45"/>
                    <a:pt x="56" y="45"/>
                    <a:pt x="56" y="45"/>
                  </a:cubicBezTo>
                  <a:lnTo>
                    <a:pt x="56" y="26"/>
                  </a:lnTo>
                  <a:close/>
                  <a:moveTo>
                    <a:pt x="39" y="33"/>
                  </a:moveTo>
                  <a:cubicBezTo>
                    <a:pt x="39" y="32"/>
                    <a:pt x="40" y="31"/>
                    <a:pt x="41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9" y="31"/>
                    <a:pt x="50" y="32"/>
                    <a:pt x="50" y="33"/>
                  </a:cubicBezTo>
                  <a:cubicBezTo>
                    <a:pt x="50" y="45"/>
                    <a:pt x="50" y="45"/>
                    <a:pt x="50" y="45"/>
                  </a:cubicBezTo>
                  <a:cubicBezTo>
                    <a:pt x="39" y="45"/>
                    <a:pt x="39" y="45"/>
                    <a:pt x="39" y="45"/>
                  </a:cubicBezTo>
                  <a:lnTo>
                    <a:pt x="39" y="33"/>
                  </a:lnTo>
                  <a:close/>
                  <a:moveTo>
                    <a:pt x="23" y="37"/>
                  </a:moveTo>
                  <a:cubicBezTo>
                    <a:pt x="23" y="36"/>
                    <a:pt x="24" y="36"/>
                    <a:pt x="25" y="36"/>
                  </a:cubicBezTo>
                  <a:cubicBezTo>
                    <a:pt x="32" y="36"/>
                    <a:pt x="32" y="36"/>
                    <a:pt x="32" y="36"/>
                  </a:cubicBezTo>
                  <a:cubicBezTo>
                    <a:pt x="33" y="36"/>
                    <a:pt x="34" y="36"/>
                    <a:pt x="34" y="37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23" y="45"/>
                    <a:pt x="23" y="45"/>
                    <a:pt x="23" y="45"/>
                  </a:cubicBezTo>
                  <a:lnTo>
                    <a:pt x="23" y="37"/>
                  </a:lnTo>
                  <a:close/>
                  <a:moveTo>
                    <a:pt x="16" y="52"/>
                  </a:moveTo>
                  <a:cubicBezTo>
                    <a:pt x="16" y="52"/>
                    <a:pt x="16" y="52"/>
                    <a:pt x="16" y="52"/>
                  </a:cubicBezTo>
                  <a:cubicBezTo>
                    <a:pt x="15" y="52"/>
                    <a:pt x="14" y="51"/>
                    <a:pt x="14" y="50"/>
                  </a:cubicBezTo>
                  <a:cubicBezTo>
                    <a:pt x="14" y="10"/>
                    <a:pt x="14" y="10"/>
                    <a:pt x="14" y="10"/>
                  </a:cubicBezTo>
                  <a:cubicBezTo>
                    <a:pt x="14" y="10"/>
                    <a:pt x="15" y="9"/>
                    <a:pt x="16" y="9"/>
                  </a:cubicBezTo>
                  <a:cubicBezTo>
                    <a:pt x="17" y="9"/>
                    <a:pt x="18" y="10"/>
                    <a:pt x="18" y="10"/>
                  </a:cubicBezTo>
                  <a:cubicBezTo>
                    <a:pt x="18" y="49"/>
                    <a:pt x="18" y="49"/>
                    <a:pt x="18" y="49"/>
                  </a:cubicBezTo>
                  <a:cubicBezTo>
                    <a:pt x="87" y="49"/>
                    <a:pt x="87" y="49"/>
                    <a:pt x="87" y="49"/>
                  </a:cubicBezTo>
                  <a:cubicBezTo>
                    <a:pt x="88" y="49"/>
                    <a:pt x="89" y="49"/>
                    <a:pt x="89" y="50"/>
                  </a:cubicBezTo>
                  <a:cubicBezTo>
                    <a:pt x="89" y="51"/>
                    <a:pt x="88" y="52"/>
                    <a:pt x="87" y="52"/>
                  </a:cubicBezTo>
                  <a:lnTo>
                    <a:pt x="16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</p:grpSp>
      <p:sp>
        <p:nvSpPr>
          <p:cNvPr id="30" name="深度视觉·原创设计 https://www.docer.com/works?userid=22383862"/>
          <p:cNvSpPr/>
          <p:nvPr/>
        </p:nvSpPr>
        <p:spPr>
          <a:xfrm>
            <a:off x="8758237" y="2355856"/>
            <a:ext cx="1930400" cy="8399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lnSpc>
                <a:spcPts val="2000"/>
              </a:lnSpc>
              <a:defRPr/>
            </a:pPr>
            <a:r>
              <a:rPr lang="zh-CN" altLang="en-US" sz="1100" dirty="0">
                <a:solidFill>
                  <a:schemeClr val="bg1">
                    <a:lumMod val="50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请在此处添加具体内容，文字尽量言简意赅，简单说明即可，不必过于繁琐</a:t>
            </a:r>
            <a:endParaRPr lang="zh-CN" altLang="en-US" sz="1100" dirty="0">
              <a:solidFill>
                <a:schemeClr val="bg1">
                  <a:lumMod val="50000"/>
                </a:schemeClr>
              </a:solidFill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31" name="深度视觉·原创设计 https://www.docer.com/works?userid=22383862"/>
          <p:cNvSpPr/>
          <p:nvPr/>
        </p:nvSpPr>
        <p:spPr>
          <a:xfrm>
            <a:off x="8758237" y="2034613"/>
            <a:ext cx="1092141" cy="3371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600" b="1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汉仪正圆-55W" panose="00020600040101010101" pitchFamily="18" charset="-122"/>
                <a:ea typeface="汉仪正圆-55W" panose="00020600040101010101" pitchFamily="18" charset="-122"/>
                <a:cs typeface="Open Sans" pitchFamily="34" charset="0"/>
                <a:sym typeface="汉仪正圆-55W" panose="00020600040101010101" pitchFamily="18" charset="-122"/>
              </a:rPr>
              <a:t>添加标题</a:t>
            </a:r>
            <a:endParaRPr kumimoji="0" lang="zh-CN" altLang="en-US" sz="16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汉仪正圆-55W" panose="00020600040101010101" pitchFamily="18" charset="-122"/>
              <a:ea typeface="汉仪正圆-55W" panose="00020600040101010101" pitchFamily="18" charset="-122"/>
              <a:cs typeface="Open Sans" pitchFamily="34" charset="0"/>
              <a:sym typeface="汉仪正圆-55W" panose="00020600040101010101" pitchFamily="18" charset="-122"/>
            </a:endParaRPr>
          </a:p>
        </p:txBody>
      </p:sp>
      <p:sp>
        <p:nvSpPr>
          <p:cNvPr id="32" name="深度视觉·原创设计 https://www.docer.com/works?userid=22383862"/>
          <p:cNvSpPr/>
          <p:nvPr/>
        </p:nvSpPr>
        <p:spPr>
          <a:xfrm>
            <a:off x="8758237" y="4651294"/>
            <a:ext cx="1930400" cy="8399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lnSpc>
                <a:spcPts val="2000"/>
              </a:lnSpc>
              <a:defRPr/>
            </a:pPr>
            <a:r>
              <a:rPr lang="zh-CN" altLang="en-US" sz="1100" dirty="0">
                <a:solidFill>
                  <a:schemeClr val="bg1">
                    <a:lumMod val="50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请在此处添加具体内容，文字尽量言简意赅，简单说明即可，不必过于繁琐</a:t>
            </a:r>
            <a:endParaRPr lang="zh-CN" altLang="en-US" sz="1100" dirty="0">
              <a:solidFill>
                <a:schemeClr val="bg1">
                  <a:lumMod val="50000"/>
                </a:schemeClr>
              </a:solidFill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33" name="深度视觉·原创设计 https://www.docer.com/works?userid=22383862"/>
          <p:cNvSpPr/>
          <p:nvPr/>
        </p:nvSpPr>
        <p:spPr>
          <a:xfrm>
            <a:off x="8758237" y="4330051"/>
            <a:ext cx="1092141" cy="3371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600" b="1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汉仪正圆-55W" panose="00020600040101010101" pitchFamily="18" charset="-122"/>
                <a:ea typeface="汉仪正圆-55W" panose="00020600040101010101" pitchFamily="18" charset="-122"/>
                <a:cs typeface="Open Sans" pitchFamily="34" charset="0"/>
                <a:sym typeface="汉仪正圆-55W" panose="00020600040101010101" pitchFamily="18" charset="-122"/>
              </a:rPr>
              <a:t>添加标题</a:t>
            </a:r>
            <a:endParaRPr kumimoji="0" lang="zh-CN" altLang="en-US" sz="16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汉仪正圆-55W" panose="00020600040101010101" pitchFamily="18" charset="-122"/>
              <a:ea typeface="汉仪正圆-55W" panose="00020600040101010101" pitchFamily="18" charset="-122"/>
              <a:cs typeface="Open Sans" pitchFamily="34" charset="0"/>
              <a:sym typeface="汉仪正圆-55W" panose="00020600040101010101" pitchFamily="18" charset="-122"/>
            </a:endParaRPr>
          </a:p>
        </p:txBody>
      </p:sp>
      <p:sp>
        <p:nvSpPr>
          <p:cNvPr id="34" name="深度视觉·原创设计 https://www.docer.com/works?userid=22383862"/>
          <p:cNvSpPr/>
          <p:nvPr/>
        </p:nvSpPr>
        <p:spPr>
          <a:xfrm>
            <a:off x="1503363" y="2355856"/>
            <a:ext cx="1930400" cy="8399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>
              <a:lnSpc>
                <a:spcPts val="2000"/>
              </a:lnSpc>
              <a:defRPr/>
            </a:pPr>
            <a:r>
              <a:rPr lang="zh-CN" altLang="en-US" sz="1100" dirty="0">
                <a:solidFill>
                  <a:schemeClr val="bg1">
                    <a:lumMod val="50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请在此处添加具体内容，文字尽量言简意赅，简单说明即可，不必过于繁琐</a:t>
            </a:r>
            <a:endParaRPr lang="zh-CN" altLang="en-US" sz="1100" dirty="0">
              <a:solidFill>
                <a:schemeClr val="bg1">
                  <a:lumMod val="50000"/>
                </a:schemeClr>
              </a:solidFill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35" name="深度视觉·原创设计 https://www.docer.com/works?userid=22383862"/>
          <p:cNvSpPr/>
          <p:nvPr/>
        </p:nvSpPr>
        <p:spPr>
          <a:xfrm>
            <a:off x="2341622" y="2034613"/>
            <a:ext cx="1092141" cy="3371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600" b="1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汉仪正圆-55W" panose="00020600040101010101" pitchFamily="18" charset="-122"/>
                <a:ea typeface="汉仪正圆-55W" panose="00020600040101010101" pitchFamily="18" charset="-122"/>
                <a:cs typeface="Open Sans" pitchFamily="34" charset="0"/>
                <a:sym typeface="汉仪正圆-55W" panose="00020600040101010101" pitchFamily="18" charset="-122"/>
              </a:rPr>
              <a:t>添加标题</a:t>
            </a:r>
            <a:endParaRPr kumimoji="0" lang="zh-CN" altLang="en-US" sz="16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汉仪正圆-55W" panose="00020600040101010101" pitchFamily="18" charset="-122"/>
              <a:ea typeface="汉仪正圆-55W" panose="00020600040101010101" pitchFamily="18" charset="-122"/>
              <a:cs typeface="Open Sans" pitchFamily="34" charset="0"/>
              <a:sym typeface="汉仪正圆-55W" panose="00020600040101010101" pitchFamily="18" charset="-122"/>
            </a:endParaRPr>
          </a:p>
        </p:txBody>
      </p:sp>
      <p:sp>
        <p:nvSpPr>
          <p:cNvPr id="36" name="深度视觉·原创设计 https://www.docer.com/works?userid=22383862"/>
          <p:cNvSpPr/>
          <p:nvPr/>
        </p:nvSpPr>
        <p:spPr>
          <a:xfrm>
            <a:off x="1503363" y="4651294"/>
            <a:ext cx="1930400" cy="8399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>
              <a:lnSpc>
                <a:spcPts val="2000"/>
              </a:lnSpc>
              <a:defRPr/>
            </a:pPr>
            <a:r>
              <a:rPr lang="zh-CN" altLang="en-US" sz="1100" dirty="0">
                <a:solidFill>
                  <a:schemeClr val="bg1">
                    <a:lumMod val="50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请在此处添加具体内容，文字尽量言简意赅，简单说明即可，不必过于繁琐</a:t>
            </a:r>
            <a:endParaRPr lang="zh-CN" altLang="en-US" sz="1100" dirty="0">
              <a:solidFill>
                <a:schemeClr val="bg1">
                  <a:lumMod val="50000"/>
                </a:schemeClr>
              </a:solidFill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37" name="深度视觉·原创设计 https://www.docer.com/works?userid=22383862"/>
          <p:cNvSpPr/>
          <p:nvPr/>
        </p:nvSpPr>
        <p:spPr>
          <a:xfrm>
            <a:off x="2341622" y="4330051"/>
            <a:ext cx="1092141" cy="3371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600" b="1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汉仪正圆-55W" panose="00020600040101010101" pitchFamily="18" charset="-122"/>
                <a:ea typeface="汉仪正圆-55W" panose="00020600040101010101" pitchFamily="18" charset="-122"/>
                <a:cs typeface="Open Sans" pitchFamily="34" charset="0"/>
                <a:sym typeface="汉仪正圆-55W" panose="00020600040101010101" pitchFamily="18" charset="-122"/>
              </a:rPr>
              <a:t>添加标题</a:t>
            </a:r>
            <a:endParaRPr kumimoji="0" lang="zh-CN" altLang="en-US" sz="16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汉仪正圆-55W" panose="00020600040101010101" pitchFamily="18" charset="-122"/>
              <a:ea typeface="汉仪正圆-55W" panose="00020600040101010101" pitchFamily="18" charset="-122"/>
              <a:cs typeface="Open Sans" pitchFamily="34" charset="0"/>
              <a:sym typeface="汉仪正圆-55W" panose="00020600040101010101" pitchFamily="18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000"/>
                            </p:stCondLst>
                            <p:childTnLst>
                              <p:par>
                                <p:cTn id="27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3000"/>
                            </p:stCondLst>
                            <p:childTnLst>
                              <p:par>
                                <p:cTn id="38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1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3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1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/>
      <p:bldP spid="31" grpId="0"/>
      <p:bldP spid="32" grpId="0"/>
      <p:bldP spid="33" grpId="0"/>
      <p:bldP spid="34" grpId="0"/>
      <p:bldP spid="35" grpId="0"/>
      <p:bldP spid="36" grpId="0"/>
      <p:bldP spid="37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深度视觉·原创设计 https://www.docer.com/works?userid=22383862"/>
          <p:cNvSpPr/>
          <p:nvPr/>
        </p:nvSpPr>
        <p:spPr>
          <a:xfrm flipH="1">
            <a:off x="9677400" y="4533899"/>
            <a:ext cx="2514600" cy="2324101"/>
          </a:xfrm>
          <a:prstGeom prst="corner">
            <a:avLst>
              <a:gd name="adj1" fmla="val 17397"/>
              <a:gd name="adj2" fmla="val 16614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6" name="深度视觉·原创设计 https://www.docer.com/works?userid=22383862"/>
          <p:cNvSpPr/>
          <p:nvPr/>
        </p:nvSpPr>
        <p:spPr>
          <a:xfrm rot="10800000" flipH="1">
            <a:off x="0" y="0"/>
            <a:ext cx="2514600" cy="2324101"/>
          </a:xfrm>
          <a:prstGeom prst="corner">
            <a:avLst>
              <a:gd name="adj1" fmla="val 17397"/>
              <a:gd name="adj2" fmla="val 16614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8" name="深度视觉·原创设计 https://www.docer.com/works?userid=22383862"/>
          <p:cNvSpPr txBox="1"/>
          <p:nvPr/>
        </p:nvSpPr>
        <p:spPr>
          <a:xfrm>
            <a:off x="1645262" y="2813447"/>
            <a:ext cx="4857138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4000" b="1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汉仪正圆-55W" panose="00020600040101010101" pitchFamily="18" charset="-122"/>
                <a:ea typeface="汉仪正圆-55W" panose="00020600040101010101" pitchFamily="18" charset="-122"/>
                <a:cs typeface="Alibaba PuHuiTi" pitchFamily="18" charset="-122"/>
                <a:sym typeface="汉仪正圆-55W" panose="00020600040101010101" pitchFamily="18" charset="-122"/>
              </a:rPr>
              <a:t>项目成果展示</a:t>
            </a:r>
            <a:endParaRPr kumimoji="0" lang="zh-CN" altLang="en-US" sz="40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汉仪正圆-55W" panose="00020600040101010101" pitchFamily="18" charset="-122"/>
              <a:ea typeface="汉仪正圆-55W" panose="00020600040101010101" pitchFamily="18" charset="-122"/>
              <a:cs typeface="Alibaba PuHuiTi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9" name="深度视觉·原创设计 https://www.docer.com/works?userid=22383862"/>
          <p:cNvSpPr/>
          <p:nvPr/>
        </p:nvSpPr>
        <p:spPr>
          <a:xfrm>
            <a:off x="1645262" y="2080208"/>
            <a:ext cx="2103800" cy="500806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>
                <a:solidFill>
                  <a:schemeClr val="lt1"/>
                </a:solidFill>
              </a:defRPr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2800" dirty="0">
                <a:solidFill>
                  <a:schemeClr val="bg1"/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cs typeface="Alibaba PuHuiTi" pitchFamily="18" charset="-122"/>
                <a:sym typeface="汉仪正圆-55W" panose="00020600040101010101" pitchFamily="18" charset="-122"/>
              </a:rPr>
              <a:t>PART 03</a:t>
            </a:r>
            <a:endParaRPr lang="zh-CN" altLang="en-US" sz="2800" dirty="0">
              <a:solidFill>
                <a:schemeClr val="bg1"/>
              </a:solidFill>
              <a:latin typeface="汉仪正圆-55W" panose="00020600040101010101" pitchFamily="18" charset="-122"/>
              <a:ea typeface="汉仪正圆-55W" panose="00020600040101010101" pitchFamily="18" charset="-122"/>
              <a:cs typeface="Alibaba PuHuiTi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10" name="深度视觉·原创设计 https://www.docer.com/works?userid=22383862"/>
          <p:cNvSpPr txBox="1"/>
          <p:nvPr/>
        </p:nvSpPr>
        <p:spPr>
          <a:xfrm>
            <a:off x="1645262" y="3661433"/>
            <a:ext cx="4305595" cy="10348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400" dirty="0">
                <a:solidFill>
                  <a:schemeClr val="tx1">
                    <a:lumMod val="85000"/>
                    <a:lumOff val="15000"/>
                    <a:alpha val="50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cs typeface="Alibaba PuHuiTi" pitchFamily="18" charset="-122"/>
                <a:sym typeface="汉仪正圆-55W" panose="00020600040101010101" pitchFamily="18" charset="-122"/>
              </a:rPr>
              <a:t>正文内容，本段适应大段文字章节。如果文字较多的内容描述比较适合放在这里，请在此修改您的内容，或者将内容粘贴到记事本后，复制到此段落中。</a:t>
            </a:r>
            <a:endParaRPr lang="en-US" altLang="zh-CN" sz="1400" dirty="0">
              <a:solidFill>
                <a:schemeClr val="tx1">
                  <a:lumMod val="85000"/>
                  <a:lumOff val="15000"/>
                  <a:alpha val="50000"/>
                </a:schemeClr>
              </a:solidFill>
              <a:latin typeface="汉仪正圆-55W" panose="00020600040101010101" pitchFamily="18" charset="-122"/>
              <a:ea typeface="汉仪正圆-55W" panose="00020600040101010101" pitchFamily="18" charset="-122"/>
              <a:cs typeface="Alibaba PuHuiTi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12" name="深度视觉·原创设计 https://www.docer.com/works?userid=22383862"/>
          <p:cNvSpPr/>
          <p:nvPr/>
        </p:nvSpPr>
        <p:spPr>
          <a:xfrm>
            <a:off x="6763658" y="2080208"/>
            <a:ext cx="4044338" cy="2604967"/>
          </a:xfrm>
          <a:custGeom>
            <a:avLst/>
            <a:gdLst>
              <a:gd name="connsiteX0" fmla="*/ 0 w 4044338"/>
              <a:gd name="connsiteY0" fmla="*/ 0 h 2604967"/>
              <a:gd name="connsiteX1" fmla="*/ 4044338 w 4044338"/>
              <a:gd name="connsiteY1" fmla="*/ 0 h 2604967"/>
              <a:gd name="connsiteX2" fmla="*/ 4044338 w 4044338"/>
              <a:gd name="connsiteY2" fmla="*/ 2604967 h 2604967"/>
              <a:gd name="connsiteX3" fmla="*/ 0 w 4044338"/>
              <a:gd name="connsiteY3" fmla="*/ 2604967 h 26049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44338" h="2604967">
                <a:moveTo>
                  <a:pt x="0" y="0"/>
                </a:moveTo>
                <a:lnTo>
                  <a:pt x="4044338" y="0"/>
                </a:lnTo>
                <a:lnTo>
                  <a:pt x="4044338" y="2604967"/>
                </a:lnTo>
                <a:lnTo>
                  <a:pt x="0" y="2604967"/>
                </a:lnTo>
                <a:close/>
              </a:path>
            </a:pathLst>
          </a:custGeom>
          <a:blipFill>
            <a:blip r:embed="rId1"/>
            <a:srcRect/>
            <a:stretch>
              <a:fillRect t="-66441" b="-66441"/>
            </a:stretch>
          </a:blip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/>
                <a:tailEnd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深度视觉·原创设计 https://www.docer.com/works?userid=22383862"/>
          <p:cNvSpPr/>
          <p:nvPr/>
        </p:nvSpPr>
        <p:spPr>
          <a:xfrm flipH="1">
            <a:off x="11252019" y="5989229"/>
            <a:ext cx="939981" cy="868771"/>
          </a:xfrm>
          <a:prstGeom prst="corner">
            <a:avLst>
              <a:gd name="adj1" fmla="val 17397"/>
              <a:gd name="adj2" fmla="val 16614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21" name="深度视觉·原创设计 https://www.docer.com/works?userid=22383862"/>
          <p:cNvSpPr/>
          <p:nvPr/>
        </p:nvSpPr>
        <p:spPr>
          <a:xfrm rot="10800000" flipH="1">
            <a:off x="0" y="0"/>
            <a:ext cx="939981" cy="868771"/>
          </a:xfrm>
          <a:prstGeom prst="corner">
            <a:avLst>
              <a:gd name="adj1" fmla="val 17397"/>
              <a:gd name="adj2" fmla="val 16614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22" name="深度视觉·原创设计 https://www.docer.com/works?userid=22383862"/>
          <p:cNvSpPr/>
          <p:nvPr/>
        </p:nvSpPr>
        <p:spPr>
          <a:xfrm>
            <a:off x="4535714" y="350796"/>
            <a:ext cx="3120572" cy="51797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23" name="深度视觉·原创设计 https://www.docer.com/works?userid=22383862"/>
          <p:cNvSpPr txBox="1"/>
          <p:nvPr/>
        </p:nvSpPr>
        <p:spPr>
          <a:xfrm>
            <a:off x="4966459" y="455895"/>
            <a:ext cx="2259081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2000" spc="300" dirty="0">
                <a:solidFill>
                  <a:schemeClr val="tx1">
                    <a:lumMod val="75000"/>
                    <a:lumOff val="25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cs typeface="Alibaba PuHuiTi" pitchFamily="18" charset="-122"/>
                <a:sym typeface="汉仪正圆-55W" panose="00020600040101010101" pitchFamily="18" charset="-122"/>
              </a:rPr>
              <a:t>输入您的标题</a:t>
            </a:r>
            <a:endParaRPr kumimoji="0" lang="zh-CN" altLang="en-US" sz="2000" i="0" u="none" strike="noStrike" kern="1200" cap="none" spc="30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汉仪正圆-55W" panose="00020600040101010101" pitchFamily="18" charset="-122"/>
              <a:ea typeface="汉仪正圆-55W" panose="00020600040101010101" pitchFamily="18" charset="-122"/>
              <a:cs typeface="Alibaba PuHuiTi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3" name="深度视觉·原创设计 https://www.docer.com/works?userid=22383862"/>
          <p:cNvSpPr/>
          <p:nvPr/>
        </p:nvSpPr>
        <p:spPr>
          <a:xfrm>
            <a:off x="4525433" y="4682201"/>
            <a:ext cx="6237817" cy="1533525"/>
          </a:xfrm>
          <a:prstGeom prst="rect">
            <a:avLst/>
          </a:prstGeom>
          <a:solidFill>
            <a:srgbClr val="F2F2F2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>
              <a:defRPr sz="3200" spc="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sz="160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7" name="深度视觉·原创设计 https://www.docer.com/works?userid=22383862"/>
          <p:cNvSpPr txBox="1"/>
          <p:nvPr/>
        </p:nvSpPr>
        <p:spPr>
          <a:xfrm>
            <a:off x="1426633" y="3132774"/>
            <a:ext cx="1358903" cy="1358903"/>
          </a:xfrm>
          <a:prstGeom prst="rect">
            <a:avLst/>
          </a:prstGeom>
          <a:blipFill>
            <a:blip r:embed="rId1"/>
            <a:stretch>
              <a:fillRect l="-24962" r="-24962"/>
            </a:stretch>
          </a:blipFill>
          <a:ln w="12700">
            <a:miter lim="400000"/>
          </a:ln>
        </p:spPr>
        <p:txBody>
          <a:bodyPr/>
          <a:lstStyle/>
          <a:p>
            <a:endParaRPr lang="zh-CN" altLang="en-US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8" name="深度视觉·原创设计 https://www.docer.com/works?userid=22383862"/>
          <p:cNvSpPr txBox="1"/>
          <p:nvPr/>
        </p:nvSpPr>
        <p:spPr>
          <a:xfrm>
            <a:off x="2976033" y="3132774"/>
            <a:ext cx="1358903" cy="1358903"/>
          </a:xfrm>
          <a:prstGeom prst="rect">
            <a:avLst/>
          </a:prstGeom>
          <a:blipFill>
            <a:blip r:embed="rId2"/>
            <a:stretch>
              <a:fillRect t="-16650" b="-16650"/>
            </a:stretch>
          </a:blipFill>
          <a:ln w="12700">
            <a:miter lim="400000"/>
          </a:ln>
        </p:spPr>
        <p:txBody>
          <a:bodyPr/>
          <a:lstStyle/>
          <a:p>
            <a:endParaRPr lang="zh-CN" altLang="en-US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9" name="深度视觉·原创设计 https://www.docer.com/works?userid=22383862"/>
          <p:cNvSpPr txBox="1"/>
          <p:nvPr/>
        </p:nvSpPr>
        <p:spPr>
          <a:xfrm>
            <a:off x="4525433" y="1262699"/>
            <a:ext cx="2583162" cy="3228951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 w="12700">
            <a:miter lim="400000"/>
          </a:ln>
        </p:spPr>
        <p:txBody>
          <a:bodyPr/>
          <a:lstStyle/>
          <a:p>
            <a:endParaRPr lang="zh-CN" altLang="en-US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10" name="深度视觉·原创设计 https://www.docer.com/works?userid=22383862"/>
          <p:cNvSpPr txBox="1"/>
          <p:nvPr/>
        </p:nvSpPr>
        <p:spPr>
          <a:xfrm>
            <a:off x="1341779" y="1626828"/>
            <a:ext cx="2339102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zh-CN" altLang="en-US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在这添加</a:t>
            </a:r>
            <a:endParaRPr lang="en-US" altLang="zh-CN" sz="2800" dirty="0">
              <a:solidFill>
                <a:schemeClr val="tx1">
                  <a:lumMod val="75000"/>
                  <a:lumOff val="25000"/>
                </a:schemeClr>
              </a:solidFill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  <a:p>
            <a:pPr algn="l"/>
            <a:r>
              <a:rPr lang="zh-CN" altLang="en-US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页面标题内容</a:t>
            </a:r>
            <a:endParaRPr lang="zh-CN" altLang="en-US" sz="2800" dirty="0">
              <a:solidFill>
                <a:schemeClr val="tx1">
                  <a:lumMod val="75000"/>
                  <a:lumOff val="25000"/>
                </a:schemeClr>
              </a:solidFill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11" name="深度视觉·原创设计 https://www.docer.com/works?userid=22383862"/>
          <p:cNvSpPr txBox="1"/>
          <p:nvPr/>
        </p:nvSpPr>
        <p:spPr>
          <a:xfrm>
            <a:off x="1341779" y="1225940"/>
            <a:ext cx="3183654" cy="3102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0" i="0" u="none" strike="noStrike" cap="none">
                <a:solidFill>
                  <a:schemeClr val="accent1"/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cs typeface="Lato"/>
                <a:sym typeface="汉仪正圆-55W" panose="00020600040101010101" pitchFamily="18" charset="-122"/>
              </a:rPr>
              <a:t>YOUR TITLE HERE</a:t>
            </a:r>
            <a:endParaRPr sz="2000" b="0" i="0" u="none" strike="noStrike" cap="none">
              <a:solidFill>
                <a:schemeClr val="accent1"/>
              </a:solidFill>
              <a:latin typeface="汉仪正圆-55W" panose="00020600040101010101" pitchFamily="18" charset="-122"/>
              <a:ea typeface="汉仪正圆-55W" panose="00020600040101010101" pitchFamily="18" charset="-122"/>
              <a:cs typeface="Lato"/>
              <a:sym typeface="汉仪正圆-55W" panose="00020600040101010101" pitchFamily="18" charset="-122"/>
            </a:endParaRPr>
          </a:p>
        </p:txBody>
      </p:sp>
      <p:sp>
        <p:nvSpPr>
          <p:cNvPr id="12" name="深度视觉·原创设计 https://www.docer.com/works?userid=22383862"/>
          <p:cNvSpPr txBox="1"/>
          <p:nvPr/>
        </p:nvSpPr>
        <p:spPr>
          <a:xfrm>
            <a:off x="7709087" y="1405322"/>
            <a:ext cx="755336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dirty="0">
                <a:solidFill>
                  <a:schemeClr val="accent1"/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cs typeface="Lato Semibold" panose="020F0502020204030203" pitchFamily="34" charset="0"/>
                <a:sym typeface="汉仪正圆-55W" panose="00020600040101010101" pitchFamily="18" charset="-122"/>
              </a:rPr>
              <a:t>01</a:t>
            </a:r>
            <a:endParaRPr lang="en-US" sz="4000" dirty="0">
              <a:solidFill>
                <a:schemeClr val="accent1"/>
              </a:solidFill>
              <a:latin typeface="汉仪正圆-55W" panose="00020600040101010101" pitchFamily="18" charset="-122"/>
              <a:ea typeface="汉仪正圆-55W" panose="00020600040101010101" pitchFamily="18" charset="-122"/>
              <a:cs typeface="Lato Semibold" panose="020F0502020204030203" pitchFamily="34" charset="0"/>
              <a:sym typeface="汉仪正圆-55W" panose="00020600040101010101" pitchFamily="18" charset="-122"/>
            </a:endParaRPr>
          </a:p>
        </p:txBody>
      </p:sp>
      <p:sp>
        <p:nvSpPr>
          <p:cNvPr id="13" name="深度视觉·原创设计 https://www.docer.com/works?userid=22383862"/>
          <p:cNvSpPr txBox="1"/>
          <p:nvPr/>
        </p:nvSpPr>
        <p:spPr>
          <a:xfrm>
            <a:off x="7709087" y="3073973"/>
            <a:ext cx="755335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dirty="0">
                <a:solidFill>
                  <a:schemeClr val="accent2"/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cs typeface="Lato Semibold" panose="020F0502020204030203" pitchFamily="34" charset="0"/>
                <a:sym typeface="汉仪正圆-55W" panose="00020600040101010101" pitchFamily="18" charset="-122"/>
              </a:rPr>
              <a:t>02</a:t>
            </a:r>
            <a:endParaRPr lang="en-US" sz="4000" dirty="0">
              <a:solidFill>
                <a:schemeClr val="accent2"/>
              </a:solidFill>
              <a:latin typeface="汉仪正圆-55W" panose="00020600040101010101" pitchFamily="18" charset="-122"/>
              <a:ea typeface="汉仪正圆-55W" panose="00020600040101010101" pitchFamily="18" charset="-122"/>
              <a:cs typeface="Lato Semibold" panose="020F0502020204030203" pitchFamily="34" charset="0"/>
              <a:sym typeface="汉仪正圆-55W" panose="00020600040101010101" pitchFamily="18" charset="-122"/>
            </a:endParaRPr>
          </a:p>
        </p:txBody>
      </p:sp>
      <p:sp>
        <p:nvSpPr>
          <p:cNvPr id="14" name="深度视觉·原创设计 https://www.docer.com/works?userid=22383862"/>
          <p:cNvSpPr/>
          <p:nvPr/>
        </p:nvSpPr>
        <p:spPr>
          <a:xfrm>
            <a:off x="8622055" y="1749617"/>
            <a:ext cx="1893767" cy="8399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lnSpc>
                <a:spcPts val="2000"/>
              </a:lnSpc>
              <a:defRPr/>
            </a:pPr>
            <a:r>
              <a:rPr lang="zh-CN" altLang="en-US" sz="1100" dirty="0">
                <a:solidFill>
                  <a:schemeClr val="bg1">
                    <a:lumMod val="50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请在此处添加具体内容，文字尽量言简意赅，简单说明即可，不必过于繁琐</a:t>
            </a:r>
            <a:endParaRPr lang="zh-CN" altLang="en-US" sz="1100" dirty="0">
              <a:solidFill>
                <a:schemeClr val="bg1">
                  <a:lumMod val="50000"/>
                </a:schemeClr>
              </a:solidFill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15" name="深度视觉·原创设计 https://www.docer.com/works?userid=22383862"/>
          <p:cNvSpPr/>
          <p:nvPr/>
        </p:nvSpPr>
        <p:spPr>
          <a:xfrm>
            <a:off x="8622055" y="1428374"/>
            <a:ext cx="1092141" cy="3371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600" b="1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汉仪正圆-55W" panose="00020600040101010101" pitchFamily="18" charset="-122"/>
                <a:ea typeface="汉仪正圆-55W" panose="00020600040101010101" pitchFamily="18" charset="-122"/>
                <a:cs typeface="Open Sans" pitchFamily="34" charset="0"/>
                <a:sym typeface="汉仪正圆-55W" panose="00020600040101010101" pitchFamily="18" charset="-122"/>
              </a:rPr>
              <a:t>添加标题</a:t>
            </a:r>
            <a:endParaRPr kumimoji="0" lang="zh-CN" altLang="en-US" sz="16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汉仪正圆-55W" panose="00020600040101010101" pitchFamily="18" charset="-122"/>
              <a:ea typeface="汉仪正圆-55W" panose="00020600040101010101" pitchFamily="18" charset="-122"/>
              <a:cs typeface="Open Sans" pitchFamily="34" charset="0"/>
              <a:sym typeface="汉仪正圆-55W" panose="00020600040101010101" pitchFamily="18" charset="-122"/>
            </a:endParaRPr>
          </a:p>
        </p:txBody>
      </p:sp>
      <p:sp>
        <p:nvSpPr>
          <p:cNvPr id="16" name="深度视觉·原创设计 https://www.docer.com/works?userid=22383862"/>
          <p:cNvSpPr/>
          <p:nvPr/>
        </p:nvSpPr>
        <p:spPr>
          <a:xfrm>
            <a:off x="8622055" y="3382747"/>
            <a:ext cx="1893767" cy="8399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lnSpc>
                <a:spcPts val="2000"/>
              </a:lnSpc>
              <a:defRPr/>
            </a:pPr>
            <a:r>
              <a:rPr lang="zh-CN" altLang="en-US" sz="1100" dirty="0">
                <a:solidFill>
                  <a:schemeClr val="bg1">
                    <a:lumMod val="50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请在此处添加具体内容，文字尽量言简意赅，简单说明即可，不必过于繁琐</a:t>
            </a:r>
            <a:endParaRPr lang="zh-CN" altLang="en-US" sz="1100" dirty="0">
              <a:solidFill>
                <a:schemeClr val="bg1">
                  <a:lumMod val="50000"/>
                </a:schemeClr>
              </a:solidFill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17" name="深度视觉·原创设计 https://www.docer.com/works?userid=22383862"/>
          <p:cNvSpPr/>
          <p:nvPr/>
        </p:nvSpPr>
        <p:spPr>
          <a:xfrm>
            <a:off x="8622055" y="3061504"/>
            <a:ext cx="1092141" cy="3371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600" b="1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汉仪正圆-55W" panose="00020600040101010101" pitchFamily="18" charset="-122"/>
                <a:ea typeface="汉仪正圆-55W" panose="00020600040101010101" pitchFamily="18" charset="-122"/>
                <a:cs typeface="Open Sans" pitchFamily="34" charset="0"/>
                <a:sym typeface="汉仪正圆-55W" panose="00020600040101010101" pitchFamily="18" charset="-122"/>
              </a:rPr>
              <a:t>添加标题</a:t>
            </a:r>
            <a:endParaRPr kumimoji="0" lang="zh-CN" altLang="en-US" sz="16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汉仪正圆-55W" panose="00020600040101010101" pitchFamily="18" charset="-122"/>
              <a:ea typeface="汉仪正圆-55W" panose="00020600040101010101" pitchFamily="18" charset="-122"/>
              <a:cs typeface="Open Sans" pitchFamily="34" charset="0"/>
              <a:sym typeface="汉仪正圆-55W" panose="00020600040101010101" pitchFamily="18" charset="-122"/>
            </a:endParaRPr>
          </a:p>
        </p:txBody>
      </p:sp>
      <p:sp>
        <p:nvSpPr>
          <p:cNvPr id="18" name="深度视觉·原创设计 https://www.docer.com/works?userid=22383862"/>
          <p:cNvSpPr txBox="1"/>
          <p:nvPr/>
        </p:nvSpPr>
        <p:spPr>
          <a:xfrm>
            <a:off x="1277578" y="4906020"/>
            <a:ext cx="2403303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i="1" dirty="0">
                <a:solidFill>
                  <a:schemeClr val="tx1">
                    <a:lumMod val="75000"/>
                    <a:lumOff val="25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cs typeface="Open Sans" pitchFamily="34" charset="0"/>
                <a:sym typeface="汉仪正圆-55W" panose="00020600040101010101" pitchFamily="18" charset="-122"/>
              </a:rPr>
              <a:t>Creative</a:t>
            </a:r>
            <a:endParaRPr lang="en-US" sz="2800" b="1" i="1" dirty="0">
              <a:solidFill>
                <a:schemeClr val="tx1">
                  <a:lumMod val="75000"/>
                  <a:lumOff val="25000"/>
                </a:schemeClr>
              </a:solidFill>
              <a:latin typeface="汉仪正圆-55W" panose="00020600040101010101" pitchFamily="18" charset="-122"/>
              <a:ea typeface="汉仪正圆-55W" panose="00020600040101010101" pitchFamily="18" charset="-122"/>
              <a:cs typeface="Open Sans" pitchFamily="34" charset="0"/>
              <a:sym typeface="汉仪正圆-55W" panose="00020600040101010101" pitchFamily="18" charset="-122"/>
            </a:endParaRPr>
          </a:p>
          <a:p>
            <a:r>
              <a:rPr lang="en-US" sz="2800" b="1" i="1" dirty="0">
                <a:solidFill>
                  <a:schemeClr val="tx1">
                    <a:lumMod val="75000"/>
                    <a:lumOff val="25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cs typeface="Open Sans" pitchFamily="34" charset="0"/>
                <a:sym typeface="汉仪正圆-55W" panose="00020600040101010101" pitchFamily="18" charset="-122"/>
              </a:rPr>
              <a:t>Slide</a:t>
            </a:r>
            <a:endParaRPr lang="en-US" sz="2800" i="1" dirty="0">
              <a:solidFill>
                <a:schemeClr val="tx1">
                  <a:lumMod val="75000"/>
                  <a:lumOff val="25000"/>
                </a:schemeClr>
              </a:solidFill>
              <a:latin typeface="汉仪正圆-55W" panose="00020600040101010101" pitchFamily="18" charset="-122"/>
              <a:ea typeface="汉仪正圆-55W" panose="00020600040101010101" pitchFamily="18" charset="-122"/>
              <a:cs typeface="Open Sans" pitchFamily="34" charset="0"/>
              <a:sym typeface="汉仪正圆-55W" panose="00020600040101010101" pitchFamily="18" charset="-122"/>
            </a:endParaRPr>
          </a:p>
        </p:txBody>
      </p:sp>
      <p:sp>
        <p:nvSpPr>
          <p:cNvPr id="19" name="深度视觉·原创设计 https://www.docer.com/works?userid=22383862"/>
          <p:cNvSpPr txBox="1"/>
          <p:nvPr/>
        </p:nvSpPr>
        <p:spPr>
          <a:xfrm>
            <a:off x="5137572" y="5032793"/>
            <a:ext cx="5143029" cy="711717"/>
          </a:xfrm>
          <a:prstGeom prst="rect">
            <a:avLst/>
          </a:prstGeom>
          <a:noFill/>
        </p:spPr>
        <p:txBody>
          <a:bodyPr wrap="square" lIns="91423" tIns="45712" rIns="91423" bIns="45712" rtlCol="0">
            <a:spAutoFit/>
          </a:bodyPr>
          <a:lstStyle/>
          <a:p>
            <a:pPr marL="0" marR="0" lvl="0" indent="0" algn="l" defTabSz="121793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400" dirty="0">
                <a:solidFill>
                  <a:schemeClr val="bg1">
                    <a:lumMod val="50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请在此处添加具体内容，文字尽量言简意赅，简单说明即可，不必过于繁琐，注意板面美观度。请在此处添加具体内容。</a:t>
            </a:r>
            <a:endParaRPr kumimoji="0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  <p:bldP spid="15" grpId="0"/>
      <p:bldP spid="16" grpId="0"/>
      <p:bldP spid="17" grpId="0"/>
      <p:bldP spid="19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深度视觉·原创设计 https://www.docer.com/works?userid=22383862"/>
          <p:cNvSpPr/>
          <p:nvPr/>
        </p:nvSpPr>
        <p:spPr>
          <a:xfrm flipH="1">
            <a:off x="11252019" y="5989229"/>
            <a:ext cx="939981" cy="868771"/>
          </a:xfrm>
          <a:prstGeom prst="corner">
            <a:avLst>
              <a:gd name="adj1" fmla="val 17397"/>
              <a:gd name="adj2" fmla="val 16614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45" name="深度视觉·原创设计 https://www.docer.com/works?userid=22383862"/>
          <p:cNvSpPr/>
          <p:nvPr/>
        </p:nvSpPr>
        <p:spPr>
          <a:xfrm rot="10800000" flipH="1">
            <a:off x="0" y="0"/>
            <a:ext cx="939981" cy="868771"/>
          </a:xfrm>
          <a:prstGeom prst="corner">
            <a:avLst>
              <a:gd name="adj1" fmla="val 17397"/>
              <a:gd name="adj2" fmla="val 16614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46" name="深度视觉·原创设计 https://www.docer.com/works?userid=22383862"/>
          <p:cNvSpPr/>
          <p:nvPr/>
        </p:nvSpPr>
        <p:spPr>
          <a:xfrm>
            <a:off x="4535714" y="350796"/>
            <a:ext cx="3120572" cy="51797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47" name="深度视觉·原创设计 https://www.docer.com/works?userid=22383862"/>
          <p:cNvSpPr txBox="1"/>
          <p:nvPr/>
        </p:nvSpPr>
        <p:spPr>
          <a:xfrm>
            <a:off x="4966459" y="455895"/>
            <a:ext cx="2259081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2000" spc="300" dirty="0">
                <a:solidFill>
                  <a:schemeClr val="tx1">
                    <a:lumMod val="75000"/>
                    <a:lumOff val="25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cs typeface="Alibaba PuHuiTi" pitchFamily="18" charset="-122"/>
                <a:sym typeface="汉仪正圆-55W" panose="00020600040101010101" pitchFamily="18" charset="-122"/>
              </a:rPr>
              <a:t>输入您的标题</a:t>
            </a:r>
            <a:endParaRPr kumimoji="0" lang="zh-CN" altLang="en-US" sz="2000" i="0" u="none" strike="noStrike" kern="1200" cap="none" spc="30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汉仪正圆-55W" panose="00020600040101010101" pitchFamily="18" charset="-122"/>
              <a:ea typeface="汉仪正圆-55W" panose="00020600040101010101" pitchFamily="18" charset="-122"/>
              <a:cs typeface="Alibaba PuHuiTi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2" name="深度视觉·原创设计 https://www.docer.com/works?userid=22383862"/>
          <p:cNvSpPr/>
          <p:nvPr/>
        </p:nvSpPr>
        <p:spPr>
          <a:xfrm>
            <a:off x="205374" y="3377556"/>
            <a:ext cx="182880" cy="18288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2945"/>
                </a:moveTo>
                <a:lnTo>
                  <a:pt x="982" y="2945"/>
                </a:lnTo>
                <a:lnTo>
                  <a:pt x="982" y="982"/>
                </a:lnTo>
                <a:lnTo>
                  <a:pt x="20618" y="982"/>
                </a:lnTo>
                <a:cubicBezTo>
                  <a:pt x="20618" y="982"/>
                  <a:pt x="20618" y="2945"/>
                  <a:pt x="20618" y="2945"/>
                </a:cubicBezTo>
                <a:close/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440"/>
                  <a:pt x="0" y="982"/>
                </a:cubicBezTo>
                <a:lnTo>
                  <a:pt x="0" y="2945"/>
                </a:lnTo>
                <a:cubicBezTo>
                  <a:pt x="0" y="3487"/>
                  <a:pt x="440" y="3927"/>
                  <a:pt x="982" y="3927"/>
                </a:cubicBezTo>
                <a:lnTo>
                  <a:pt x="20618" y="3927"/>
                </a:lnTo>
                <a:cubicBezTo>
                  <a:pt x="21160" y="3927"/>
                  <a:pt x="21600" y="3487"/>
                  <a:pt x="21600" y="2945"/>
                </a:cubicBezTo>
                <a:lnTo>
                  <a:pt x="21600" y="982"/>
                </a:lnTo>
                <a:cubicBezTo>
                  <a:pt x="21600" y="440"/>
                  <a:pt x="21160" y="0"/>
                  <a:pt x="20618" y="0"/>
                </a:cubicBezTo>
                <a:moveTo>
                  <a:pt x="20618" y="14727"/>
                </a:moveTo>
                <a:lnTo>
                  <a:pt x="982" y="14727"/>
                </a:lnTo>
                <a:lnTo>
                  <a:pt x="982" y="12764"/>
                </a:lnTo>
                <a:lnTo>
                  <a:pt x="20618" y="12764"/>
                </a:lnTo>
                <a:cubicBezTo>
                  <a:pt x="20618" y="12764"/>
                  <a:pt x="20618" y="14727"/>
                  <a:pt x="20618" y="14727"/>
                </a:cubicBezTo>
                <a:close/>
                <a:moveTo>
                  <a:pt x="20618" y="11782"/>
                </a:moveTo>
                <a:lnTo>
                  <a:pt x="982" y="11782"/>
                </a:lnTo>
                <a:cubicBezTo>
                  <a:pt x="440" y="11782"/>
                  <a:pt x="0" y="12222"/>
                  <a:pt x="0" y="12764"/>
                </a:cubicBezTo>
                <a:lnTo>
                  <a:pt x="0" y="14727"/>
                </a:lnTo>
                <a:cubicBezTo>
                  <a:pt x="0" y="15270"/>
                  <a:pt x="440" y="15709"/>
                  <a:pt x="982" y="15709"/>
                </a:cubicBezTo>
                <a:lnTo>
                  <a:pt x="20618" y="15709"/>
                </a:lnTo>
                <a:cubicBezTo>
                  <a:pt x="21160" y="15709"/>
                  <a:pt x="21600" y="15270"/>
                  <a:pt x="21600" y="14727"/>
                </a:cubicBezTo>
                <a:lnTo>
                  <a:pt x="21600" y="12764"/>
                </a:lnTo>
                <a:cubicBezTo>
                  <a:pt x="21600" y="12222"/>
                  <a:pt x="21160" y="11782"/>
                  <a:pt x="20618" y="11782"/>
                </a:cubicBezTo>
                <a:moveTo>
                  <a:pt x="982" y="6873"/>
                </a:moveTo>
                <a:lnTo>
                  <a:pt x="14727" y="6873"/>
                </a:lnTo>
                <a:lnTo>
                  <a:pt x="14727" y="8836"/>
                </a:lnTo>
                <a:lnTo>
                  <a:pt x="982" y="8836"/>
                </a:lnTo>
                <a:cubicBezTo>
                  <a:pt x="982" y="8836"/>
                  <a:pt x="982" y="6873"/>
                  <a:pt x="982" y="6873"/>
                </a:cubicBezTo>
                <a:close/>
                <a:moveTo>
                  <a:pt x="982" y="9818"/>
                </a:moveTo>
                <a:lnTo>
                  <a:pt x="14727" y="9818"/>
                </a:lnTo>
                <a:cubicBezTo>
                  <a:pt x="15269" y="9818"/>
                  <a:pt x="15709" y="9378"/>
                  <a:pt x="15709" y="8836"/>
                </a:cubicBezTo>
                <a:lnTo>
                  <a:pt x="15709" y="6873"/>
                </a:lnTo>
                <a:cubicBezTo>
                  <a:pt x="15709" y="6331"/>
                  <a:pt x="15269" y="5891"/>
                  <a:pt x="14727" y="5891"/>
                </a:cubicBezTo>
                <a:lnTo>
                  <a:pt x="982" y="5891"/>
                </a:lnTo>
                <a:cubicBezTo>
                  <a:pt x="440" y="5891"/>
                  <a:pt x="0" y="6331"/>
                  <a:pt x="0" y="6873"/>
                </a:cubicBezTo>
                <a:lnTo>
                  <a:pt x="0" y="8836"/>
                </a:lnTo>
                <a:cubicBezTo>
                  <a:pt x="0" y="9378"/>
                  <a:pt x="440" y="9818"/>
                  <a:pt x="982" y="9818"/>
                </a:cubicBezTo>
                <a:moveTo>
                  <a:pt x="14727" y="20618"/>
                </a:moveTo>
                <a:lnTo>
                  <a:pt x="982" y="20618"/>
                </a:lnTo>
                <a:lnTo>
                  <a:pt x="982" y="18655"/>
                </a:lnTo>
                <a:lnTo>
                  <a:pt x="14727" y="18655"/>
                </a:lnTo>
                <a:cubicBezTo>
                  <a:pt x="14727" y="18655"/>
                  <a:pt x="14727" y="20618"/>
                  <a:pt x="14727" y="20618"/>
                </a:cubicBezTo>
                <a:close/>
                <a:moveTo>
                  <a:pt x="14727" y="17673"/>
                </a:moveTo>
                <a:lnTo>
                  <a:pt x="982" y="17673"/>
                </a:lnTo>
                <a:cubicBezTo>
                  <a:pt x="440" y="17673"/>
                  <a:pt x="0" y="18113"/>
                  <a:pt x="0" y="18655"/>
                </a:cubicBezTo>
                <a:lnTo>
                  <a:pt x="0" y="20618"/>
                </a:lnTo>
                <a:cubicBezTo>
                  <a:pt x="0" y="21160"/>
                  <a:pt x="440" y="21600"/>
                  <a:pt x="982" y="21600"/>
                </a:cubicBezTo>
                <a:lnTo>
                  <a:pt x="14727" y="21600"/>
                </a:lnTo>
                <a:cubicBezTo>
                  <a:pt x="15269" y="21600"/>
                  <a:pt x="15709" y="21160"/>
                  <a:pt x="15709" y="20618"/>
                </a:cubicBezTo>
                <a:lnTo>
                  <a:pt x="15709" y="18655"/>
                </a:lnTo>
                <a:cubicBezTo>
                  <a:pt x="15709" y="18113"/>
                  <a:pt x="15269" y="17673"/>
                  <a:pt x="14727" y="17673"/>
                </a:cubicBezTo>
              </a:path>
            </a:pathLst>
          </a:custGeom>
          <a:gradFill>
            <a:gsLst>
              <a:gs pos="0">
                <a:schemeClr val="accent5">
                  <a:lumMod val="67000"/>
                </a:schemeClr>
              </a:gs>
              <a:gs pos="48000">
                <a:schemeClr val="accent3"/>
              </a:gs>
              <a:gs pos="100000">
                <a:schemeClr val="accent6"/>
              </a:gs>
            </a:gsLst>
            <a:path path="circle">
              <a:fillToRect l="100000" t="100000"/>
            </a:path>
          </a:gra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6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500">
              <a:latin typeface="汉仪正圆-55W" panose="00020600040101010101" pitchFamily="18" charset="-122"/>
              <a:ea typeface="汉仪正圆-55W" panose="00020600040101010101" pitchFamily="18" charset="-122"/>
              <a:cs typeface="Source Sans Pro Light" charset="0"/>
              <a:sym typeface="汉仪正圆-55W" panose="00020600040101010101" pitchFamily="18" charset="-122"/>
            </a:endParaRPr>
          </a:p>
        </p:txBody>
      </p:sp>
      <p:grpSp>
        <p:nvGrpSpPr>
          <p:cNvPr id="3" name="深度视觉·原创设计 https://www.docer.com/works?userid=22383862"/>
          <p:cNvGrpSpPr/>
          <p:nvPr/>
        </p:nvGrpSpPr>
        <p:grpSpPr>
          <a:xfrm>
            <a:off x="873941" y="1981200"/>
            <a:ext cx="4672708" cy="3523309"/>
            <a:chOff x="3128963" y="904875"/>
            <a:chExt cx="5173663" cy="4073526"/>
          </a:xfrm>
          <a:effectLst/>
        </p:grpSpPr>
        <p:sp>
          <p:nvSpPr>
            <p:cNvPr id="4" name="深度视觉·原创设计 https://www.docer.com/works?userid=22383862"/>
            <p:cNvSpPr>
              <a:spLocks noEditPoints="1"/>
            </p:cNvSpPr>
            <p:nvPr/>
          </p:nvSpPr>
          <p:spPr bwMode="auto">
            <a:xfrm>
              <a:off x="5059363" y="4246563"/>
              <a:ext cx="735013" cy="731838"/>
            </a:xfrm>
            <a:custGeom>
              <a:avLst/>
              <a:gdLst>
                <a:gd name="T0" fmla="*/ 127 w 255"/>
                <a:gd name="T1" fmla="*/ 254 h 254"/>
                <a:gd name="T2" fmla="*/ 0 w 255"/>
                <a:gd name="T3" fmla="*/ 127 h 254"/>
                <a:gd name="T4" fmla="*/ 127 w 255"/>
                <a:gd name="T5" fmla="*/ 0 h 254"/>
                <a:gd name="T6" fmla="*/ 255 w 255"/>
                <a:gd name="T7" fmla="*/ 127 h 254"/>
                <a:gd name="T8" fmla="*/ 127 w 255"/>
                <a:gd name="T9" fmla="*/ 254 h 254"/>
                <a:gd name="T10" fmla="*/ 127 w 255"/>
                <a:gd name="T11" fmla="*/ 93 h 254"/>
                <a:gd name="T12" fmla="*/ 93 w 255"/>
                <a:gd name="T13" fmla="*/ 127 h 254"/>
                <a:gd name="T14" fmla="*/ 127 w 255"/>
                <a:gd name="T15" fmla="*/ 161 h 254"/>
                <a:gd name="T16" fmla="*/ 162 w 255"/>
                <a:gd name="T17" fmla="*/ 127 h 254"/>
                <a:gd name="T18" fmla="*/ 127 w 255"/>
                <a:gd name="T19" fmla="*/ 93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5" h="254">
                  <a:moveTo>
                    <a:pt x="127" y="254"/>
                  </a:moveTo>
                  <a:cubicBezTo>
                    <a:pt x="57" y="254"/>
                    <a:pt x="0" y="197"/>
                    <a:pt x="0" y="127"/>
                  </a:cubicBezTo>
                  <a:cubicBezTo>
                    <a:pt x="0" y="57"/>
                    <a:pt x="57" y="0"/>
                    <a:pt x="127" y="0"/>
                  </a:cubicBezTo>
                  <a:cubicBezTo>
                    <a:pt x="198" y="0"/>
                    <a:pt x="255" y="57"/>
                    <a:pt x="255" y="127"/>
                  </a:cubicBezTo>
                  <a:cubicBezTo>
                    <a:pt x="255" y="197"/>
                    <a:pt x="198" y="254"/>
                    <a:pt x="127" y="254"/>
                  </a:cubicBezTo>
                  <a:close/>
                  <a:moveTo>
                    <a:pt x="127" y="93"/>
                  </a:moveTo>
                  <a:cubicBezTo>
                    <a:pt x="108" y="93"/>
                    <a:pt x="93" y="108"/>
                    <a:pt x="93" y="127"/>
                  </a:cubicBezTo>
                  <a:cubicBezTo>
                    <a:pt x="93" y="146"/>
                    <a:pt x="108" y="161"/>
                    <a:pt x="127" y="161"/>
                  </a:cubicBezTo>
                  <a:cubicBezTo>
                    <a:pt x="146" y="161"/>
                    <a:pt x="162" y="146"/>
                    <a:pt x="162" y="127"/>
                  </a:cubicBezTo>
                  <a:cubicBezTo>
                    <a:pt x="162" y="108"/>
                    <a:pt x="146" y="93"/>
                    <a:pt x="127" y="93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5" name="深度视觉·原创设计 https://www.docer.com/works?userid=22383862"/>
            <p:cNvSpPr>
              <a:spLocks noEditPoints="1"/>
            </p:cNvSpPr>
            <p:nvPr/>
          </p:nvSpPr>
          <p:spPr bwMode="auto">
            <a:xfrm>
              <a:off x="6904038" y="4081463"/>
              <a:ext cx="733425" cy="735013"/>
            </a:xfrm>
            <a:custGeom>
              <a:avLst/>
              <a:gdLst>
                <a:gd name="T0" fmla="*/ 127 w 254"/>
                <a:gd name="T1" fmla="*/ 255 h 255"/>
                <a:gd name="T2" fmla="*/ 0 w 254"/>
                <a:gd name="T3" fmla="*/ 128 h 255"/>
                <a:gd name="T4" fmla="*/ 127 w 254"/>
                <a:gd name="T5" fmla="*/ 0 h 255"/>
                <a:gd name="T6" fmla="*/ 254 w 254"/>
                <a:gd name="T7" fmla="*/ 128 h 255"/>
                <a:gd name="T8" fmla="*/ 127 w 254"/>
                <a:gd name="T9" fmla="*/ 255 h 255"/>
                <a:gd name="T10" fmla="*/ 127 w 254"/>
                <a:gd name="T11" fmla="*/ 93 h 255"/>
                <a:gd name="T12" fmla="*/ 93 w 254"/>
                <a:gd name="T13" fmla="*/ 128 h 255"/>
                <a:gd name="T14" fmla="*/ 127 w 254"/>
                <a:gd name="T15" fmla="*/ 162 h 255"/>
                <a:gd name="T16" fmla="*/ 161 w 254"/>
                <a:gd name="T17" fmla="*/ 128 h 255"/>
                <a:gd name="T18" fmla="*/ 127 w 254"/>
                <a:gd name="T19" fmla="*/ 93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4" h="255">
                  <a:moveTo>
                    <a:pt x="127" y="255"/>
                  </a:moveTo>
                  <a:cubicBezTo>
                    <a:pt x="57" y="255"/>
                    <a:pt x="0" y="198"/>
                    <a:pt x="0" y="128"/>
                  </a:cubicBezTo>
                  <a:cubicBezTo>
                    <a:pt x="0" y="57"/>
                    <a:pt x="57" y="0"/>
                    <a:pt x="127" y="0"/>
                  </a:cubicBezTo>
                  <a:cubicBezTo>
                    <a:pt x="197" y="0"/>
                    <a:pt x="254" y="57"/>
                    <a:pt x="254" y="128"/>
                  </a:cubicBezTo>
                  <a:cubicBezTo>
                    <a:pt x="254" y="198"/>
                    <a:pt x="197" y="255"/>
                    <a:pt x="127" y="255"/>
                  </a:cubicBezTo>
                  <a:close/>
                  <a:moveTo>
                    <a:pt x="127" y="93"/>
                  </a:moveTo>
                  <a:cubicBezTo>
                    <a:pt x="108" y="93"/>
                    <a:pt x="93" y="109"/>
                    <a:pt x="93" y="128"/>
                  </a:cubicBezTo>
                  <a:cubicBezTo>
                    <a:pt x="93" y="147"/>
                    <a:pt x="108" y="162"/>
                    <a:pt x="127" y="162"/>
                  </a:cubicBezTo>
                  <a:cubicBezTo>
                    <a:pt x="146" y="162"/>
                    <a:pt x="161" y="147"/>
                    <a:pt x="161" y="128"/>
                  </a:cubicBezTo>
                  <a:cubicBezTo>
                    <a:pt x="161" y="109"/>
                    <a:pt x="146" y="93"/>
                    <a:pt x="127" y="93"/>
                  </a:cubicBez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6" name="深度视觉·原创设计 https://www.docer.com/works?userid=22383862"/>
            <p:cNvSpPr/>
            <p:nvPr/>
          </p:nvSpPr>
          <p:spPr bwMode="auto">
            <a:xfrm>
              <a:off x="6157913" y="2733675"/>
              <a:ext cx="1917700" cy="1524000"/>
            </a:xfrm>
            <a:custGeom>
              <a:avLst/>
              <a:gdLst>
                <a:gd name="T0" fmla="*/ 598 w 665"/>
                <a:gd name="T1" fmla="*/ 356 h 529"/>
                <a:gd name="T2" fmla="*/ 595 w 665"/>
                <a:gd name="T3" fmla="*/ 356 h 529"/>
                <a:gd name="T4" fmla="*/ 658 w 665"/>
                <a:gd name="T5" fmla="*/ 29 h 529"/>
                <a:gd name="T6" fmla="*/ 663 w 665"/>
                <a:gd name="T7" fmla="*/ 0 h 529"/>
                <a:gd name="T8" fmla="*/ 0 w 665"/>
                <a:gd name="T9" fmla="*/ 42 h 529"/>
                <a:gd name="T10" fmla="*/ 26 w 665"/>
                <a:gd name="T11" fmla="*/ 529 h 529"/>
                <a:gd name="T12" fmla="*/ 41 w 665"/>
                <a:gd name="T13" fmla="*/ 527 h 529"/>
                <a:gd name="T14" fmla="*/ 607 w 665"/>
                <a:gd name="T15" fmla="*/ 467 h 529"/>
                <a:gd name="T16" fmla="*/ 663 w 665"/>
                <a:gd name="T17" fmla="*/ 405 h 529"/>
                <a:gd name="T18" fmla="*/ 598 w 665"/>
                <a:gd name="T19" fmla="*/ 356 h 5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65" h="529">
                  <a:moveTo>
                    <a:pt x="598" y="356"/>
                  </a:moveTo>
                  <a:cubicBezTo>
                    <a:pt x="595" y="356"/>
                    <a:pt x="595" y="356"/>
                    <a:pt x="595" y="356"/>
                  </a:cubicBezTo>
                  <a:cubicBezTo>
                    <a:pt x="658" y="29"/>
                    <a:pt x="658" y="29"/>
                    <a:pt x="658" y="29"/>
                  </a:cubicBezTo>
                  <a:cubicBezTo>
                    <a:pt x="663" y="0"/>
                    <a:pt x="663" y="0"/>
                    <a:pt x="663" y="0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26" y="529"/>
                    <a:pt x="26" y="529"/>
                    <a:pt x="26" y="529"/>
                  </a:cubicBezTo>
                  <a:cubicBezTo>
                    <a:pt x="41" y="527"/>
                    <a:pt x="41" y="527"/>
                    <a:pt x="41" y="527"/>
                  </a:cubicBezTo>
                  <a:cubicBezTo>
                    <a:pt x="607" y="467"/>
                    <a:pt x="607" y="467"/>
                    <a:pt x="607" y="467"/>
                  </a:cubicBezTo>
                  <a:cubicBezTo>
                    <a:pt x="640" y="463"/>
                    <a:pt x="665" y="435"/>
                    <a:pt x="663" y="405"/>
                  </a:cubicBezTo>
                  <a:cubicBezTo>
                    <a:pt x="661" y="374"/>
                    <a:pt x="631" y="352"/>
                    <a:pt x="598" y="356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7" name="深度视觉·原创设计 https://www.docer.com/works?userid=22383862"/>
            <p:cNvSpPr/>
            <p:nvPr/>
          </p:nvSpPr>
          <p:spPr bwMode="auto">
            <a:xfrm>
              <a:off x="6232526" y="2733675"/>
              <a:ext cx="1843088" cy="1524000"/>
            </a:xfrm>
            <a:custGeom>
              <a:avLst/>
              <a:gdLst>
                <a:gd name="T0" fmla="*/ 572 w 639"/>
                <a:gd name="T1" fmla="*/ 356 h 529"/>
                <a:gd name="T2" fmla="*/ 569 w 639"/>
                <a:gd name="T3" fmla="*/ 356 h 529"/>
                <a:gd name="T4" fmla="*/ 632 w 639"/>
                <a:gd name="T5" fmla="*/ 29 h 529"/>
                <a:gd name="T6" fmla="*/ 637 w 639"/>
                <a:gd name="T7" fmla="*/ 0 h 529"/>
                <a:gd name="T8" fmla="*/ 0 w 639"/>
                <a:gd name="T9" fmla="*/ 529 h 529"/>
                <a:gd name="T10" fmla="*/ 15 w 639"/>
                <a:gd name="T11" fmla="*/ 527 h 529"/>
                <a:gd name="T12" fmla="*/ 581 w 639"/>
                <a:gd name="T13" fmla="*/ 467 h 529"/>
                <a:gd name="T14" fmla="*/ 637 w 639"/>
                <a:gd name="T15" fmla="*/ 405 h 529"/>
                <a:gd name="T16" fmla="*/ 572 w 639"/>
                <a:gd name="T17" fmla="*/ 356 h 5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39" h="529">
                  <a:moveTo>
                    <a:pt x="572" y="356"/>
                  </a:moveTo>
                  <a:cubicBezTo>
                    <a:pt x="569" y="356"/>
                    <a:pt x="569" y="356"/>
                    <a:pt x="569" y="356"/>
                  </a:cubicBezTo>
                  <a:cubicBezTo>
                    <a:pt x="632" y="29"/>
                    <a:pt x="632" y="29"/>
                    <a:pt x="632" y="29"/>
                  </a:cubicBezTo>
                  <a:cubicBezTo>
                    <a:pt x="637" y="0"/>
                    <a:pt x="637" y="0"/>
                    <a:pt x="637" y="0"/>
                  </a:cubicBezTo>
                  <a:cubicBezTo>
                    <a:pt x="0" y="529"/>
                    <a:pt x="0" y="529"/>
                    <a:pt x="0" y="529"/>
                  </a:cubicBezTo>
                  <a:cubicBezTo>
                    <a:pt x="15" y="527"/>
                    <a:pt x="15" y="527"/>
                    <a:pt x="15" y="527"/>
                  </a:cubicBezTo>
                  <a:cubicBezTo>
                    <a:pt x="581" y="467"/>
                    <a:pt x="581" y="467"/>
                    <a:pt x="581" y="467"/>
                  </a:cubicBezTo>
                  <a:cubicBezTo>
                    <a:pt x="614" y="463"/>
                    <a:pt x="639" y="435"/>
                    <a:pt x="637" y="405"/>
                  </a:cubicBezTo>
                  <a:cubicBezTo>
                    <a:pt x="635" y="374"/>
                    <a:pt x="605" y="352"/>
                    <a:pt x="572" y="356"/>
                  </a:cubicBez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8" name="深度视觉·原创设计 https://www.docer.com/works?userid=22383862"/>
            <p:cNvSpPr/>
            <p:nvPr/>
          </p:nvSpPr>
          <p:spPr bwMode="auto">
            <a:xfrm>
              <a:off x="6086476" y="1527175"/>
              <a:ext cx="2216150" cy="1327150"/>
            </a:xfrm>
            <a:custGeom>
              <a:avLst/>
              <a:gdLst>
                <a:gd name="T0" fmla="*/ 1249 w 1396"/>
                <a:gd name="T1" fmla="*/ 760 h 836"/>
                <a:gd name="T2" fmla="*/ 1253 w 1396"/>
                <a:gd name="T3" fmla="*/ 743 h 836"/>
                <a:gd name="T4" fmla="*/ 1396 w 1396"/>
                <a:gd name="T5" fmla="*/ 0 h 836"/>
                <a:gd name="T6" fmla="*/ 1356 w 1396"/>
                <a:gd name="T7" fmla="*/ 0 h 836"/>
                <a:gd name="T8" fmla="*/ 47 w 1396"/>
                <a:gd name="T9" fmla="*/ 0 h 836"/>
                <a:gd name="T10" fmla="*/ 0 w 1396"/>
                <a:gd name="T11" fmla="*/ 0 h 836"/>
                <a:gd name="T12" fmla="*/ 45 w 1396"/>
                <a:gd name="T13" fmla="*/ 836 h 836"/>
                <a:gd name="T14" fmla="*/ 1249 w 1396"/>
                <a:gd name="T15" fmla="*/ 760 h 8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96" h="836">
                  <a:moveTo>
                    <a:pt x="1249" y="760"/>
                  </a:moveTo>
                  <a:lnTo>
                    <a:pt x="1253" y="743"/>
                  </a:lnTo>
                  <a:lnTo>
                    <a:pt x="1396" y="0"/>
                  </a:lnTo>
                  <a:lnTo>
                    <a:pt x="1356" y="0"/>
                  </a:lnTo>
                  <a:lnTo>
                    <a:pt x="47" y="0"/>
                  </a:lnTo>
                  <a:lnTo>
                    <a:pt x="0" y="0"/>
                  </a:lnTo>
                  <a:lnTo>
                    <a:pt x="45" y="836"/>
                  </a:lnTo>
                  <a:lnTo>
                    <a:pt x="1249" y="76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9" name="深度视觉·原创设计 https://www.docer.com/works?userid=22383862"/>
            <p:cNvSpPr/>
            <p:nvPr/>
          </p:nvSpPr>
          <p:spPr bwMode="auto">
            <a:xfrm>
              <a:off x="6157913" y="1527175"/>
              <a:ext cx="2144713" cy="1327150"/>
            </a:xfrm>
            <a:custGeom>
              <a:avLst/>
              <a:gdLst>
                <a:gd name="T0" fmla="*/ 1204 w 1351"/>
                <a:gd name="T1" fmla="*/ 760 h 836"/>
                <a:gd name="T2" fmla="*/ 1208 w 1351"/>
                <a:gd name="T3" fmla="*/ 743 h 836"/>
                <a:gd name="T4" fmla="*/ 1351 w 1351"/>
                <a:gd name="T5" fmla="*/ 0 h 836"/>
                <a:gd name="T6" fmla="*/ 1311 w 1351"/>
                <a:gd name="T7" fmla="*/ 0 h 836"/>
                <a:gd name="T8" fmla="*/ 0 w 1351"/>
                <a:gd name="T9" fmla="*/ 836 h 836"/>
                <a:gd name="T10" fmla="*/ 1204 w 1351"/>
                <a:gd name="T11" fmla="*/ 760 h 8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51" h="836">
                  <a:moveTo>
                    <a:pt x="1204" y="760"/>
                  </a:moveTo>
                  <a:lnTo>
                    <a:pt x="1208" y="743"/>
                  </a:lnTo>
                  <a:lnTo>
                    <a:pt x="1351" y="0"/>
                  </a:lnTo>
                  <a:lnTo>
                    <a:pt x="1311" y="0"/>
                  </a:lnTo>
                  <a:lnTo>
                    <a:pt x="0" y="836"/>
                  </a:lnTo>
                  <a:lnTo>
                    <a:pt x="1204" y="760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10" name="深度视觉·原创设计 https://www.docer.com/works?userid=22383862"/>
            <p:cNvSpPr/>
            <p:nvPr/>
          </p:nvSpPr>
          <p:spPr bwMode="auto">
            <a:xfrm>
              <a:off x="3128963" y="904875"/>
              <a:ext cx="3028950" cy="2073275"/>
            </a:xfrm>
            <a:custGeom>
              <a:avLst/>
              <a:gdLst>
                <a:gd name="T0" fmla="*/ 1026 w 1051"/>
                <a:gd name="T1" fmla="*/ 216 h 719"/>
                <a:gd name="T2" fmla="*/ 1020 w 1051"/>
                <a:gd name="T3" fmla="*/ 216 h 719"/>
                <a:gd name="T4" fmla="*/ 340 w 1051"/>
                <a:gd name="T5" fmla="*/ 216 h 719"/>
                <a:gd name="T6" fmla="*/ 320 w 1051"/>
                <a:gd name="T7" fmla="*/ 136 h 719"/>
                <a:gd name="T8" fmla="*/ 243 w 1051"/>
                <a:gd name="T9" fmla="*/ 53 h 719"/>
                <a:gd name="T10" fmla="*/ 76 w 1051"/>
                <a:gd name="T11" fmla="*/ 9 h 719"/>
                <a:gd name="T12" fmla="*/ 6 w 1051"/>
                <a:gd name="T13" fmla="*/ 48 h 719"/>
                <a:gd name="T14" fmla="*/ 55 w 1051"/>
                <a:gd name="T15" fmla="*/ 118 h 719"/>
                <a:gd name="T16" fmla="*/ 168 w 1051"/>
                <a:gd name="T17" fmla="*/ 148 h 719"/>
                <a:gd name="T18" fmla="*/ 244 w 1051"/>
                <a:gd name="T19" fmla="*/ 231 h 719"/>
                <a:gd name="T20" fmla="*/ 365 w 1051"/>
                <a:gd name="T21" fmla="*/ 701 h 719"/>
                <a:gd name="T22" fmla="*/ 369 w 1051"/>
                <a:gd name="T23" fmla="*/ 719 h 719"/>
                <a:gd name="T24" fmla="*/ 1051 w 1051"/>
                <a:gd name="T25" fmla="*/ 676 h 719"/>
                <a:gd name="T26" fmla="*/ 1026 w 1051"/>
                <a:gd name="T27" fmla="*/ 216 h 7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51" h="719">
                  <a:moveTo>
                    <a:pt x="1026" y="216"/>
                  </a:moveTo>
                  <a:cubicBezTo>
                    <a:pt x="1020" y="216"/>
                    <a:pt x="1020" y="216"/>
                    <a:pt x="1020" y="216"/>
                  </a:cubicBezTo>
                  <a:cubicBezTo>
                    <a:pt x="340" y="216"/>
                    <a:pt x="340" y="216"/>
                    <a:pt x="340" y="216"/>
                  </a:cubicBezTo>
                  <a:cubicBezTo>
                    <a:pt x="320" y="136"/>
                    <a:pt x="320" y="136"/>
                    <a:pt x="320" y="136"/>
                  </a:cubicBezTo>
                  <a:cubicBezTo>
                    <a:pt x="310" y="99"/>
                    <a:pt x="276" y="61"/>
                    <a:pt x="243" y="53"/>
                  </a:cubicBezTo>
                  <a:cubicBezTo>
                    <a:pt x="76" y="9"/>
                    <a:pt x="76" y="9"/>
                    <a:pt x="76" y="9"/>
                  </a:cubicBezTo>
                  <a:cubicBezTo>
                    <a:pt x="43" y="0"/>
                    <a:pt x="12" y="18"/>
                    <a:pt x="6" y="48"/>
                  </a:cubicBezTo>
                  <a:cubicBezTo>
                    <a:pt x="0" y="78"/>
                    <a:pt x="22" y="109"/>
                    <a:pt x="55" y="118"/>
                  </a:cubicBezTo>
                  <a:cubicBezTo>
                    <a:pt x="168" y="148"/>
                    <a:pt x="168" y="148"/>
                    <a:pt x="168" y="148"/>
                  </a:cubicBezTo>
                  <a:cubicBezTo>
                    <a:pt x="200" y="156"/>
                    <a:pt x="234" y="193"/>
                    <a:pt x="244" y="231"/>
                  </a:cubicBezTo>
                  <a:cubicBezTo>
                    <a:pt x="365" y="701"/>
                    <a:pt x="365" y="701"/>
                    <a:pt x="365" y="701"/>
                  </a:cubicBezTo>
                  <a:cubicBezTo>
                    <a:pt x="369" y="719"/>
                    <a:pt x="369" y="719"/>
                    <a:pt x="369" y="719"/>
                  </a:cubicBezTo>
                  <a:cubicBezTo>
                    <a:pt x="1051" y="676"/>
                    <a:pt x="1051" y="676"/>
                    <a:pt x="1051" y="676"/>
                  </a:cubicBezTo>
                  <a:lnTo>
                    <a:pt x="1026" y="21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11" name="深度视觉·原创设计 https://www.docer.com/works?userid=22383862"/>
            <p:cNvSpPr/>
            <p:nvPr/>
          </p:nvSpPr>
          <p:spPr bwMode="auto">
            <a:xfrm>
              <a:off x="4192588" y="1527175"/>
              <a:ext cx="1965325" cy="1450975"/>
            </a:xfrm>
            <a:custGeom>
              <a:avLst/>
              <a:gdLst>
                <a:gd name="T0" fmla="*/ 0 w 1238"/>
                <a:gd name="T1" fmla="*/ 914 h 914"/>
                <a:gd name="T2" fmla="*/ 1238 w 1238"/>
                <a:gd name="T3" fmla="*/ 836 h 914"/>
                <a:gd name="T4" fmla="*/ 1193 w 1238"/>
                <a:gd name="T5" fmla="*/ 0 h 914"/>
                <a:gd name="T6" fmla="*/ 0 w 1238"/>
                <a:gd name="T7" fmla="*/ 914 h 9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38" h="914">
                  <a:moveTo>
                    <a:pt x="0" y="914"/>
                  </a:moveTo>
                  <a:lnTo>
                    <a:pt x="1238" y="836"/>
                  </a:lnTo>
                  <a:lnTo>
                    <a:pt x="1193" y="0"/>
                  </a:lnTo>
                  <a:lnTo>
                    <a:pt x="0" y="914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12" name="深度视觉·原创设计 https://www.docer.com/works?userid=22383862"/>
            <p:cNvSpPr/>
            <p:nvPr/>
          </p:nvSpPr>
          <p:spPr bwMode="auto">
            <a:xfrm>
              <a:off x="4192588" y="2854325"/>
              <a:ext cx="2039938" cy="1570038"/>
            </a:xfrm>
            <a:custGeom>
              <a:avLst/>
              <a:gdLst>
                <a:gd name="T0" fmla="*/ 0 w 708"/>
                <a:gd name="T1" fmla="*/ 43 h 545"/>
                <a:gd name="T2" fmla="*/ 6 w 708"/>
                <a:gd name="T3" fmla="*/ 62 h 545"/>
                <a:gd name="T4" fmla="*/ 113 w 708"/>
                <a:gd name="T5" fmla="*/ 481 h 545"/>
                <a:gd name="T6" fmla="*/ 191 w 708"/>
                <a:gd name="T7" fmla="*/ 542 h 545"/>
                <a:gd name="T8" fmla="*/ 690 w 708"/>
                <a:gd name="T9" fmla="*/ 489 h 545"/>
                <a:gd name="T10" fmla="*/ 708 w 708"/>
                <a:gd name="T11" fmla="*/ 487 h 545"/>
                <a:gd name="T12" fmla="*/ 682 w 708"/>
                <a:gd name="T13" fmla="*/ 0 h 545"/>
                <a:gd name="T14" fmla="*/ 0 w 708"/>
                <a:gd name="T15" fmla="*/ 43 h 5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08" h="545">
                  <a:moveTo>
                    <a:pt x="0" y="43"/>
                  </a:moveTo>
                  <a:cubicBezTo>
                    <a:pt x="6" y="62"/>
                    <a:pt x="6" y="62"/>
                    <a:pt x="6" y="62"/>
                  </a:cubicBezTo>
                  <a:cubicBezTo>
                    <a:pt x="113" y="481"/>
                    <a:pt x="113" y="481"/>
                    <a:pt x="113" y="481"/>
                  </a:cubicBezTo>
                  <a:cubicBezTo>
                    <a:pt x="123" y="518"/>
                    <a:pt x="158" y="545"/>
                    <a:pt x="191" y="542"/>
                  </a:cubicBezTo>
                  <a:cubicBezTo>
                    <a:pt x="690" y="489"/>
                    <a:pt x="690" y="489"/>
                    <a:pt x="690" y="489"/>
                  </a:cubicBezTo>
                  <a:cubicBezTo>
                    <a:pt x="708" y="487"/>
                    <a:pt x="708" y="487"/>
                    <a:pt x="708" y="487"/>
                  </a:cubicBezTo>
                  <a:cubicBezTo>
                    <a:pt x="682" y="0"/>
                    <a:pt x="682" y="0"/>
                    <a:pt x="682" y="0"/>
                  </a:cubicBezTo>
                  <a:lnTo>
                    <a:pt x="0" y="4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13" name="深度视觉·原创设计 https://www.docer.com/works?userid=22383862"/>
            <p:cNvSpPr/>
            <p:nvPr/>
          </p:nvSpPr>
          <p:spPr bwMode="auto">
            <a:xfrm>
              <a:off x="4564063" y="2854325"/>
              <a:ext cx="1668463" cy="1568450"/>
            </a:xfrm>
            <a:custGeom>
              <a:avLst/>
              <a:gdLst>
                <a:gd name="T0" fmla="*/ 14 w 579"/>
                <a:gd name="T1" fmla="*/ 527 h 544"/>
                <a:gd name="T2" fmla="*/ 62 w 579"/>
                <a:gd name="T3" fmla="*/ 542 h 544"/>
                <a:gd name="T4" fmla="*/ 561 w 579"/>
                <a:gd name="T5" fmla="*/ 489 h 544"/>
                <a:gd name="T6" fmla="*/ 579 w 579"/>
                <a:gd name="T7" fmla="*/ 487 h 544"/>
                <a:gd name="T8" fmla="*/ 553 w 579"/>
                <a:gd name="T9" fmla="*/ 0 h 544"/>
                <a:gd name="T10" fmla="*/ 14 w 579"/>
                <a:gd name="T11" fmla="*/ 527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79" h="544">
                  <a:moveTo>
                    <a:pt x="14" y="527"/>
                  </a:moveTo>
                  <a:cubicBezTo>
                    <a:pt x="28" y="538"/>
                    <a:pt x="45" y="544"/>
                    <a:pt x="62" y="542"/>
                  </a:cubicBezTo>
                  <a:cubicBezTo>
                    <a:pt x="561" y="489"/>
                    <a:pt x="561" y="489"/>
                    <a:pt x="561" y="489"/>
                  </a:cubicBezTo>
                  <a:cubicBezTo>
                    <a:pt x="579" y="487"/>
                    <a:pt x="579" y="487"/>
                    <a:pt x="579" y="487"/>
                  </a:cubicBezTo>
                  <a:cubicBezTo>
                    <a:pt x="553" y="0"/>
                    <a:pt x="553" y="0"/>
                    <a:pt x="553" y="0"/>
                  </a:cubicBezTo>
                  <a:cubicBezTo>
                    <a:pt x="553" y="0"/>
                    <a:pt x="0" y="515"/>
                    <a:pt x="14" y="527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14" name="深度视觉·原创设计 https://www.docer.com/works?userid=22383862"/>
            <p:cNvSpPr>
              <a:spLocks noChangeArrowheads="1"/>
            </p:cNvSpPr>
            <p:nvPr/>
          </p:nvSpPr>
          <p:spPr bwMode="auto">
            <a:xfrm>
              <a:off x="6045201" y="3355975"/>
              <a:ext cx="484188" cy="484188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15" name="深度视觉·原创设计 https://www.docer.com/works?userid=22383862"/>
            <p:cNvSpPr>
              <a:spLocks noChangeArrowheads="1"/>
            </p:cNvSpPr>
            <p:nvPr/>
          </p:nvSpPr>
          <p:spPr bwMode="auto">
            <a:xfrm>
              <a:off x="6902451" y="2466975"/>
              <a:ext cx="484188" cy="485775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16" name="深度视觉·原创设计 https://www.docer.com/works?userid=22383862"/>
            <p:cNvSpPr>
              <a:spLocks noChangeArrowheads="1"/>
            </p:cNvSpPr>
            <p:nvPr/>
          </p:nvSpPr>
          <p:spPr bwMode="auto">
            <a:xfrm>
              <a:off x="5803901" y="1982788"/>
              <a:ext cx="484188" cy="484188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17" name="深度视觉·原创设计 https://www.docer.com/works?userid=22383862"/>
            <p:cNvSpPr>
              <a:spLocks noChangeArrowheads="1"/>
            </p:cNvSpPr>
            <p:nvPr/>
          </p:nvSpPr>
          <p:spPr bwMode="auto">
            <a:xfrm>
              <a:off x="4953001" y="2759075"/>
              <a:ext cx="484188" cy="484188"/>
            </a:xfrm>
            <a:prstGeom prst="ellipse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</p:grpSp>
      <p:sp>
        <p:nvSpPr>
          <p:cNvPr id="30" name="深度视觉·原创设计 https://www.docer.com/works?userid=22383862"/>
          <p:cNvSpPr/>
          <p:nvPr/>
        </p:nvSpPr>
        <p:spPr>
          <a:xfrm>
            <a:off x="6296136" y="3560436"/>
            <a:ext cx="4612786" cy="1037932"/>
          </a:xfrm>
          <a:prstGeom prst="roundRect">
            <a:avLst>
              <a:gd name="adj" fmla="val 50000"/>
            </a:avLst>
          </a:prstGeom>
          <a:solidFill>
            <a:srgbClr val="D8DADD">
              <a:alpha val="2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180000" rtlCol="0" anchor="ctr"/>
          <a:lstStyle/>
          <a:p>
            <a:pPr>
              <a:lnSpc>
                <a:spcPct val="130000"/>
              </a:lnSpc>
            </a:pPr>
            <a:r>
              <a:rPr lang="en-US" sz="1000" dirty="0">
                <a:solidFill>
                  <a:schemeClr val="tx1"/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cs typeface="Roboto Light" panose="02000000000000000000" pitchFamily="2" charset="0"/>
                <a:sym typeface="汉仪正圆-55W" panose="00020600040101010101" pitchFamily="18" charset="-122"/>
              </a:rPr>
              <a:t>.</a:t>
            </a:r>
            <a:endParaRPr lang="en-US" sz="1000" dirty="0">
              <a:solidFill>
                <a:schemeClr val="tx1"/>
              </a:solidFill>
              <a:latin typeface="汉仪正圆-55W" panose="00020600040101010101" pitchFamily="18" charset="-122"/>
              <a:ea typeface="汉仪正圆-55W" panose="00020600040101010101" pitchFamily="18" charset="-122"/>
              <a:cs typeface="Open Sans" pitchFamily="34" charset="0"/>
              <a:sym typeface="汉仪正圆-55W" panose="00020600040101010101" pitchFamily="18" charset="-122"/>
            </a:endParaRPr>
          </a:p>
        </p:txBody>
      </p:sp>
      <p:grpSp>
        <p:nvGrpSpPr>
          <p:cNvPr id="31" name="深度视觉·原创设计 https://www.docer.com/works?userid=22383862"/>
          <p:cNvGrpSpPr/>
          <p:nvPr/>
        </p:nvGrpSpPr>
        <p:grpSpPr>
          <a:xfrm>
            <a:off x="6656211" y="5079946"/>
            <a:ext cx="1778026" cy="574055"/>
            <a:chOff x="651340" y="5088735"/>
            <a:chExt cx="1778026" cy="574055"/>
          </a:xfrm>
        </p:grpSpPr>
        <p:sp>
          <p:nvSpPr>
            <p:cNvPr id="32" name="深度视觉·原创设计 https://www.docer.com/works?userid=22383862"/>
            <p:cNvSpPr>
              <a:spLocks noChangeAspect="1"/>
            </p:cNvSpPr>
            <p:nvPr/>
          </p:nvSpPr>
          <p:spPr>
            <a:xfrm>
              <a:off x="651340" y="5114150"/>
              <a:ext cx="548640" cy="548640"/>
            </a:xfrm>
            <a:prstGeom prst="ellipse">
              <a:avLst/>
            </a:prstGeom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schemeClr val="tx1"/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33" name="深度视觉·原创设计 https://www.docer.com/works?userid=22383862"/>
            <p:cNvSpPr txBox="1"/>
            <p:nvPr/>
          </p:nvSpPr>
          <p:spPr>
            <a:xfrm>
              <a:off x="1324576" y="5088735"/>
              <a:ext cx="1104790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000" b="1" dirty="0">
                  <a:latin typeface="汉仪正圆-55W" panose="00020600040101010101" pitchFamily="18" charset="-122"/>
                  <a:ea typeface="汉仪正圆-55W" panose="00020600040101010101" pitchFamily="18" charset="-122"/>
                  <a:cs typeface="Roboto Black" panose="02000000000000000000" pitchFamily="2" charset="0"/>
                  <a:sym typeface="汉仪正圆-55W" panose="00020600040101010101" pitchFamily="18" charset="-122"/>
                </a:rPr>
                <a:t>2.888 K</a:t>
              </a:r>
              <a:endParaRPr lang="en-US" sz="2000" b="1" dirty="0">
                <a:latin typeface="汉仪正圆-55W" panose="00020600040101010101" pitchFamily="18" charset="-122"/>
                <a:ea typeface="汉仪正圆-55W" panose="00020600040101010101" pitchFamily="18" charset="-122"/>
                <a:cs typeface="Roboto Black" panose="02000000000000000000" pitchFamily="2" charset="0"/>
                <a:sym typeface="汉仪正圆-55W" panose="00020600040101010101" pitchFamily="18" charset="-122"/>
              </a:endParaRPr>
            </a:p>
          </p:txBody>
        </p:sp>
        <p:sp>
          <p:nvSpPr>
            <p:cNvPr id="34" name="深度视觉·原创设计 https://www.docer.com/works?userid=22383862"/>
            <p:cNvSpPr/>
            <p:nvPr/>
          </p:nvSpPr>
          <p:spPr>
            <a:xfrm>
              <a:off x="1426249" y="5470889"/>
              <a:ext cx="588303" cy="153888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r>
                <a:rPr lang="en-US" sz="1000" dirty="0">
                  <a:latin typeface="汉仪正圆-55W" panose="00020600040101010101" pitchFamily="18" charset="-122"/>
                  <a:ea typeface="汉仪正圆-55W" panose="00020600040101010101" pitchFamily="18" charset="-122"/>
                  <a:cs typeface="Open Sans" pitchFamily="34" charset="0"/>
                  <a:sym typeface="汉仪正圆-55W" panose="00020600040101010101" pitchFamily="18" charset="-122"/>
                </a:rPr>
                <a:t>Male User</a:t>
              </a:r>
              <a:endParaRPr lang="en-US" sz="1000" dirty="0">
                <a:latin typeface="汉仪正圆-55W" panose="00020600040101010101" pitchFamily="18" charset="-122"/>
                <a:ea typeface="汉仪正圆-55W" panose="00020600040101010101" pitchFamily="18" charset="-122"/>
                <a:cs typeface="Open Sans" pitchFamily="34" charset="0"/>
                <a:sym typeface="汉仪正圆-55W" panose="00020600040101010101" pitchFamily="18" charset="-122"/>
              </a:endParaRPr>
            </a:p>
          </p:txBody>
        </p:sp>
        <p:sp>
          <p:nvSpPr>
            <p:cNvPr id="35" name="深度视觉·原创设计 https://www.docer.com/works?userid=22383862"/>
            <p:cNvSpPr/>
            <p:nvPr/>
          </p:nvSpPr>
          <p:spPr>
            <a:xfrm>
              <a:off x="782228" y="5264941"/>
              <a:ext cx="279328" cy="27932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958" y="17505"/>
                  </a:moveTo>
                  <a:cubicBezTo>
                    <a:pt x="17372" y="16944"/>
                    <a:pt x="16242" y="15945"/>
                    <a:pt x="15117" y="15413"/>
                  </a:cubicBezTo>
                  <a:cubicBezTo>
                    <a:pt x="14189" y="14975"/>
                    <a:pt x="13657" y="14531"/>
                    <a:pt x="13491" y="14057"/>
                  </a:cubicBezTo>
                  <a:cubicBezTo>
                    <a:pt x="13377" y="13728"/>
                    <a:pt x="13428" y="13351"/>
                    <a:pt x="13649" y="12904"/>
                  </a:cubicBezTo>
                  <a:cubicBezTo>
                    <a:pt x="13815" y="12567"/>
                    <a:pt x="13972" y="12286"/>
                    <a:pt x="14117" y="12028"/>
                  </a:cubicBezTo>
                  <a:cubicBezTo>
                    <a:pt x="14730" y="10934"/>
                    <a:pt x="15203" y="10145"/>
                    <a:pt x="15203" y="7348"/>
                  </a:cubicBezTo>
                  <a:cubicBezTo>
                    <a:pt x="15203" y="3162"/>
                    <a:pt x="12787" y="2951"/>
                    <a:pt x="12309" y="2951"/>
                  </a:cubicBezTo>
                  <a:cubicBezTo>
                    <a:pt x="11917" y="2951"/>
                    <a:pt x="11672" y="3037"/>
                    <a:pt x="11435" y="3121"/>
                  </a:cubicBezTo>
                  <a:cubicBezTo>
                    <a:pt x="11175" y="3213"/>
                    <a:pt x="10907" y="3309"/>
                    <a:pt x="10296" y="3319"/>
                  </a:cubicBezTo>
                  <a:cubicBezTo>
                    <a:pt x="9190" y="3337"/>
                    <a:pt x="6873" y="3375"/>
                    <a:pt x="6873" y="7226"/>
                  </a:cubicBezTo>
                  <a:cubicBezTo>
                    <a:pt x="6873" y="9919"/>
                    <a:pt x="7574" y="11156"/>
                    <a:pt x="8125" y="12150"/>
                  </a:cubicBezTo>
                  <a:cubicBezTo>
                    <a:pt x="8266" y="12404"/>
                    <a:pt x="8399" y="12645"/>
                    <a:pt x="8505" y="12885"/>
                  </a:cubicBezTo>
                  <a:cubicBezTo>
                    <a:pt x="8973" y="13949"/>
                    <a:pt x="8631" y="14693"/>
                    <a:pt x="7426" y="15224"/>
                  </a:cubicBezTo>
                  <a:cubicBezTo>
                    <a:pt x="5905" y="15897"/>
                    <a:pt x="5188" y="16247"/>
                    <a:pt x="3693" y="17562"/>
                  </a:cubicBezTo>
                  <a:cubicBezTo>
                    <a:pt x="2017" y="15800"/>
                    <a:pt x="982" y="13423"/>
                    <a:pt x="982" y="10800"/>
                  </a:cubicBezTo>
                  <a:cubicBezTo>
                    <a:pt x="982" y="5377"/>
                    <a:pt x="5377" y="982"/>
                    <a:pt x="10800" y="982"/>
                  </a:cubicBezTo>
                  <a:cubicBezTo>
                    <a:pt x="16223" y="982"/>
                    <a:pt x="20618" y="5377"/>
                    <a:pt x="20618" y="10800"/>
                  </a:cubicBezTo>
                  <a:cubicBezTo>
                    <a:pt x="20618" y="13395"/>
                    <a:pt x="19603" y="15749"/>
                    <a:pt x="17958" y="17505"/>
                  </a:cubicBezTo>
                  <a:moveTo>
                    <a:pt x="10800" y="20618"/>
                  </a:moveTo>
                  <a:cubicBezTo>
                    <a:pt x="8356" y="20618"/>
                    <a:pt x="6125" y="19720"/>
                    <a:pt x="4407" y="18242"/>
                  </a:cubicBezTo>
                  <a:cubicBezTo>
                    <a:pt x="5730" y="17084"/>
                    <a:pt x="6362" y="16767"/>
                    <a:pt x="7823" y="16122"/>
                  </a:cubicBezTo>
                  <a:cubicBezTo>
                    <a:pt x="9515" y="15375"/>
                    <a:pt x="10091" y="14051"/>
                    <a:pt x="9403" y="12489"/>
                  </a:cubicBezTo>
                  <a:cubicBezTo>
                    <a:pt x="9279" y="12208"/>
                    <a:pt x="9136" y="11949"/>
                    <a:pt x="8984" y="11674"/>
                  </a:cubicBezTo>
                  <a:cubicBezTo>
                    <a:pt x="8461" y="10732"/>
                    <a:pt x="7855" y="9665"/>
                    <a:pt x="7855" y="7226"/>
                  </a:cubicBezTo>
                  <a:cubicBezTo>
                    <a:pt x="7855" y="4341"/>
                    <a:pt x="9224" y="4318"/>
                    <a:pt x="10312" y="4300"/>
                  </a:cubicBezTo>
                  <a:cubicBezTo>
                    <a:pt x="11084" y="4287"/>
                    <a:pt x="11461" y="4154"/>
                    <a:pt x="11763" y="4047"/>
                  </a:cubicBezTo>
                  <a:cubicBezTo>
                    <a:pt x="11964" y="3975"/>
                    <a:pt x="12086" y="3933"/>
                    <a:pt x="12309" y="3933"/>
                  </a:cubicBezTo>
                  <a:cubicBezTo>
                    <a:pt x="13218" y="3933"/>
                    <a:pt x="14221" y="4830"/>
                    <a:pt x="14221" y="7348"/>
                  </a:cubicBezTo>
                  <a:cubicBezTo>
                    <a:pt x="14221" y="9888"/>
                    <a:pt x="13840" y="10513"/>
                    <a:pt x="13261" y="11548"/>
                  </a:cubicBezTo>
                  <a:cubicBezTo>
                    <a:pt x="13108" y="11820"/>
                    <a:pt x="12943" y="12115"/>
                    <a:pt x="12768" y="12470"/>
                  </a:cubicBezTo>
                  <a:cubicBezTo>
                    <a:pt x="12430" y="13155"/>
                    <a:pt x="12362" y="13798"/>
                    <a:pt x="12565" y="14380"/>
                  </a:cubicBezTo>
                  <a:cubicBezTo>
                    <a:pt x="12825" y="15126"/>
                    <a:pt x="13502" y="15737"/>
                    <a:pt x="14696" y="16302"/>
                  </a:cubicBezTo>
                  <a:cubicBezTo>
                    <a:pt x="15675" y="16764"/>
                    <a:pt x="16700" y="17667"/>
                    <a:pt x="17251" y="18189"/>
                  </a:cubicBezTo>
                  <a:cubicBezTo>
                    <a:pt x="15525" y="19697"/>
                    <a:pt x="13272" y="20618"/>
                    <a:pt x="10800" y="20618"/>
                  </a:cubicBezTo>
                  <a:moveTo>
                    <a:pt x="10800" y="0"/>
                  </a:moveTo>
                  <a:cubicBezTo>
                    <a:pt x="4835" y="0"/>
                    <a:pt x="0" y="4835"/>
                    <a:pt x="0" y="10800"/>
                  </a:cubicBezTo>
                  <a:cubicBezTo>
                    <a:pt x="0" y="16764"/>
                    <a:pt x="4835" y="21600"/>
                    <a:pt x="10800" y="21600"/>
                  </a:cubicBezTo>
                  <a:cubicBezTo>
                    <a:pt x="16765" y="21600"/>
                    <a:pt x="21600" y="16764"/>
                    <a:pt x="21600" y="10800"/>
                  </a:cubicBezTo>
                  <a:cubicBezTo>
                    <a:pt x="21600" y="4835"/>
                    <a:pt x="16765" y="0"/>
                    <a:pt x="10800" y="0"/>
                  </a:cubicBezTo>
                </a:path>
              </a:pathLst>
            </a:custGeom>
            <a:solidFill>
              <a:schemeClr val="bg1"/>
            </a:solidFill>
            <a:ln w="12700">
              <a:miter lim="400000"/>
            </a:ln>
          </p:spPr>
          <p:txBody>
            <a:bodyPr lIns="19045" tIns="19045" rIns="19045" bIns="19045" anchor="ctr"/>
            <a:lstStyle/>
            <a:p>
              <a:pPr defTabSz="2286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 sz="1500">
                <a:latin typeface="汉仪正圆-55W" panose="00020600040101010101" pitchFamily="18" charset="-122"/>
                <a:ea typeface="汉仪正圆-55W" panose="00020600040101010101" pitchFamily="18" charset="-122"/>
                <a:cs typeface="Source Sans Pro Light" charset="0"/>
                <a:sym typeface="汉仪正圆-55W" panose="00020600040101010101" pitchFamily="18" charset="-122"/>
              </a:endParaRPr>
            </a:p>
          </p:txBody>
        </p:sp>
      </p:grpSp>
      <p:grpSp>
        <p:nvGrpSpPr>
          <p:cNvPr id="36" name="深度视觉·原创设计 https://www.docer.com/works?userid=22383862"/>
          <p:cNvGrpSpPr/>
          <p:nvPr/>
        </p:nvGrpSpPr>
        <p:grpSpPr>
          <a:xfrm>
            <a:off x="8602529" y="5102722"/>
            <a:ext cx="1778026" cy="574055"/>
            <a:chOff x="2597658" y="5111511"/>
            <a:chExt cx="1778026" cy="574055"/>
          </a:xfrm>
        </p:grpSpPr>
        <p:sp>
          <p:nvSpPr>
            <p:cNvPr id="37" name="深度视觉·原创设计 https://www.docer.com/works?userid=22383862"/>
            <p:cNvSpPr>
              <a:spLocks noChangeAspect="1"/>
            </p:cNvSpPr>
            <p:nvPr/>
          </p:nvSpPr>
          <p:spPr>
            <a:xfrm>
              <a:off x="2597658" y="5136926"/>
              <a:ext cx="548640" cy="548640"/>
            </a:xfrm>
            <a:prstGeom prst="ellipse">
              <a:avLst/>
            </a:prstGeom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schemeClr val="tx1"/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38" name="深度视觉·原创设计 https://www.docer.com/works?userid=22383862"/>
            <p:cNvSpPr txBox="1"/>
            <p:nvPr/>
          </p:nvSpPr>
          <p:spPr>
            <a:xfrm>
              <a:off x="3270894" y="5111511"/>
              <a:ext cx="1104790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000" b="1" dirty="0">
                  <a:latin typeface="汉仪正圆-55W" panose="00020600040101010101" pitchFamily="18" charset="-122"/>
                  <a:ea typeface="汉仪正圆-55W" panose="00020600040101010101" pitchFamily="18" charset="-122"/>
                  <a:cs typeface="Roboto Black" panose="02000000000000000000" pitchFamily="2" charset="0"/>
                  <a:sym typeface="汉仪正圆-55W" panose="00020600040101010101" pitchFamily="18" charset="-122"/>
                </a:rPr>
                <a:t>1.074 K</a:t>
              </a:r>
              <a:endParaRPr lang="en-US" sz="2000" b="1" dirty="0">
                <a:latin typeface="汉仪正圆-55W" panose="00020600040101010101" pitchFamily="18" charset="-122"/>
                <a:ea typeface="汉仪正圆-55W" panose="00020600040101010101" pitchFamily="18" charset="-122"/>
                <a:cs typeface="Roboto Black" panose="02000000000000000000" pitchFamily="2" charset="0"/>
                <a:sym typeface="汉仪正圆-55W" panose="00020600040101010101" pitchFamily="18" charset="-122"/>
              </a:endParaRPr>
            </a:p>
          </p:txBody>
        </p:sp>
        <p:sp>
          <p:nvSpPr>
            <p:cNvPr id="39" name="深度视觉·原创设计 https://www.docer.com/works?userid=22383862"/>
            <p:cNvSpPr/>
            <p:nvPr/>
          </p:nvSpPr>
          <p:spPr>
            <a:xfrm>
              <a:off x="3372567" y="5483045"/>
              <a:ext cx="755015" cy="153888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r>
                <a:rPr lang="en-US" sz="1000" dirty="0">
                  <a:latin typeface="汉仪正圆-55W" panose="00020600040101010101" pitchFamily="18" charset="-122"/>
                  <a:ea typeface="汉仪正圆-55W" panose="00020600040101010101" pitchFamily="18" charset="-122"/>
                  <a:cs typeface="Open Sans" pitchFamily="34" charset="0"/>
                  <a:sym typeface="汉仪正圆-55W" panose="00020600040101010101" pitchFamily="18" charset="-122"/>
                </a:rPr>
                <a:t>Female User</a:t>
              </a:r>
              <a:endParaRPr lang="en-US" sz="1000" dirty="0">
                <a:latin typeface="汉仪正圆-55W" panose="00020600040101010101" pitchFamily="18" charset="-122"/>
                <a:ea typeface="汉仪正圆-55W" panose="00020600040101010101" pitchFamily="18" charset="-122"/>
                <a:cs typeface="Open Sans" pitchFamily="34" charset="0"/>
                <a:sym typeface="汉仪正圆-55W" panose="00020600040101010101" pitchFamily="18" charset="-122"/>
              </a:endParaRPr>
            </a:p>
          </p:txBody>
        </p:sp>
        <p:sp>
          <p:nvSpPr>
            <p:cNvPr id="40" name="深度视觉·原创设计 https://www.docer.com/works?userid=22383862"/>
            <p:cNvSpPr/>
            <p:nvPr/>
          </p:nvSpPr>
          <p:spPr>
            <a:xfrm>
              <a:off x="2732314" y="5267146"/>
              <a:ext cx="279328" cy="27932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593" y="17878"/>
                  </a:moveTo>
                  <a:cubicBezTo>
                    <a:pt x="16514" y="16546"/>
                    <a:pt x="15177" y="15812"/>
                    <a:pt x="14084" y="15323"/>
                  </a:cubicBezTo>
                  <a:cubicBezTo>
                    <a:pt x="13842" y="15214"/>
                    <a:pt x="13687" y="15099"/>
                    <a:pt x="13598" y="14990"/>
                  </a:cubicBezTo>
                  <a:cubicBezTo>
                    <a:pt x="15238" y="14959"/>
                    <a:pt x="16521" y="14237"/>
                    <a:pt x="16581" y="14203"/>
                  </a:cubicBezTo>
                  <a:cubicBezTo>
                    <a:pt x="16751" y="14106"/>
                    <a:pt x="16846" y="13918"/>
                    <a:pt x="16826" y="13724"/>
                  </a:cubicBezTo>
                  <a:cubicBezTo>
                    <a:pt x="16807" y="13546"/>
                    <a:pt x="16693" y="13394"/>
                    <a:pt x="16530" y="13325"/>
                  </a:cubicBezTo>
                  <a:cubicBezTo>
                    <a:pt x="16461" y="13275"/>
                    <a:pt x="15663" y="12629"/>
                    <a:pt x="15663" y="9051"/>
                  </a:cubicBezTo>
                  <a:cubicBezTo>
                    <a:pt x="15663" y="5000"/>
                    <a:pt x="14115" y="2945"/>
                    <a:pt x="11061" y="2945"/>
                  </a:cubicBezTo>
                  <a:cubicBezTo>
                    <a:pt x="8481" y="2945"/>
                    <a:pt x="5845" y="3642"/>
                    <a:pt x="5845" y="8806"/>
                  </a:cubicBezTo>
                  <a:cubicBezTo>
                    <a:pt x="5845" y="12555"/>
                    <a:pt x="5219" y="13278"/>
                    <a:pt x="5122" y="13367"/>
                  </a:cubicBezTo>
                  <a:cubicBezTo>
                    <a:pt x="4957" y="13416"/>
                    <a:pt x="4826" y="13551"/>
                    <a:pt x="4784" y="13723"/>
                  </a:cubicBezTo>
                  <a:cubicBezTo>
                    <a:pt x="4734" y="13935"/>
                    <a:pt x="4828" y="14153"/>
                    <a:pt x="5015" y="14262"/>
                  </a:cubicBezTo>
                  <a:cubicBezTo>
                    <a:pt x="6396" y="15064"/>
                    <a:pt x="7482" y="15136"/>
                    <a:pt x="8065" y="15091"/>
                  </a:cubicBezTo>
                  <a:cubicBezTo>
                    <a:pt x="7994" y="15151"/>
                    <a:pt x="7850" y="15241"/>
                    <a:pt x="7564" y="15335"/>
                  </a:cubicBezTo>
                  <a:cubicBezTo>
                    <a:pt x="6211" y="15776"/>
                    <a:pt x="4766" y="16807"/>
                    <a:pt x="3958" y="17834"/>
                  </a:cubicBezTo>
                  <a:cubicBezTo>
                    <a:pt x="2125" y="16050"/>
                    <a:pt x="982" y="13560"/>
                    <a:pt x="982" y="10800"/>
                  </a:cubicBezTo>
                  <a:cubicBezTo>
                    <a:pt x="982" y="5377"/>
                    <a:pt x="5377" y="982"/>
                    <a:pt x="10800" y="982"/>
                  </a:cubicBezTo>
                  <a:cubicBezTo>
                    <a:pt x="16222" y="982"/>
                    <a:pt x="20618" y="5377"/>
                    <a:pt x="20618" y="10800"/>
                  </a:cubicBezTo>
                  <a:cubicBezTo>
                    <a:pt x="20618" y="13584"/>
                    <a:pt x="19454" y="16092"/>
                    <a:pt x="17593" y="17878"/>
                  </a:cubicBezTo>
                  <a:moveTo>
                    <a:pt x="10800" y="20618"/>
                  </a:moveTo>
                  <a:cubicBezTo>
                    <a:pt x="8489" y="20618"/>
                    <a:pt x="6370" y="19815"/>
                    <a:pt x="4693" y="18480"/>
                  </a:cubicBezTo>
                  <a:cubicBezTo>
                    <a:pt x="5360" y="17604"/>
                    <a:pt x="6693" y="16652"/>
                    <a:pt x="7869" y="16268"/>
                  </a:cubicBezTo>
                  <a:cubicBezTo>
                    <a:pt x="8578" y="16037"/>
                    <a:pt x="8988" y="15688"/>
                    <a:pt x="9087" y="15232"/>
                  </a:cubicBezTo>
                  <a:cubicBezTo>
                    <a:pt x="9214" y="14656"/>
                    <a:pt x="8775" y="14230"/>
                    <a:pt x="8725" y="14183"/>
                  </a:cubicBezTo>
                  <a:cubicBezTo>
                    <a:pt x="8597" y="14065"/>
                    <a:pt x="8412" y="14025"/>
                    <a:pt x="8246" y="14075"/>
                  </a:cubicBezTo>
                  <a:cubicBezTo>
                    <a:pt x="8208" y="14086"/>
                    <a:pt x="7406" y="14309"/>
                    <a:pt x="6089" y="13714"/>
                  </a:cubicBezTo>
                  <a:cubicBezTo>
                    <a:pt x="6486" y="13026"/>
                    <a:pt x="6826" y="11618"/>
                    <a:pt x="6826" y="8806"/>
                  </a:cubicBezTo>
                  <a:cubicBezTo>
                    <a:pt x="6826" y="4301"/>
                    <a:pt x="8829" y="3928"/>
                    <a:pt x="11061" y="3928"/>
                  </a:cubicBezTo>
                  <a:cubicBezTo>
                    <a:pt x="12615" y="3928"/>
                    <a:pt x="14681" y="4458"/>
                    <a:pt x="14681" y="9051"/>
                  </a:cubicBezTo>
                  <a:cubicBezTo>
                    <a:pt x="14681" y="11662"/>
                    <a:pt x="15092" y="12966"/>
                    <a:pt x="15499" y="13617"/>
                  </a:cubicBezTo>
                  <a:cubicBezTo>
                    <a:pt x="14943" y="13829"/>
                    <a:pt x="14058" y="14076"/>
                    <a:pt x="13097" y="13993"/>
                  </a:cubicBezTo>
                  <a:cubicBezTo>
                    <a:pt x="12883" y="13971"/>
                    <a:pt x="12690" y="14092"/>
                    <a:pt x="12605" y="14285"/>
                  </a:cubicBezTo>
                  <a:cubicBezTo>
                    <a:pt x="12420" y="14704"/>
                    <a:pt x="12408" y="15649"/>
                    <a:pt x="13683" y="16219"/>
                  </a:cubicBezTo>
                  <a:cubicBezTo>
                    <a:pt x="14677" y="16664"/>
                    <a:pt x="15893" y="17331"/>
                    <a:pt x="16850" y="18522"/>
                  </a:cubicBezTo>
                  <a:cubicBezTo>
                    <a:pt x="15182" y="19831"/>
                    <a:pt x="13085" y="20618"/>
                    <a:pt x="10800" y="20618"/>
                  </a:cubicBezTo>
                  <a:moveTo>
                    <a:pt x="10800" y="0"/>
                  </a:moveTo>
                  <a:cubicBezTo>
                    <a:pt x="4835" y="0"/>
                    <a:pt x="0" y="4836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6"/>
                    <a:pt x="16764" y="0"/>
                    <a:pt x="10800" y="0"/>
                  </a:cubicBezTo>
                </a:path>
              </a:pathLst>
            </a:custGeom>
            <a:solidFill>
              <a:schemeClr val="bg1"/>
            </a:solidFill>
            <a:ln w="12700">
              <a:miter lim="400000"/>
            </a:ln>
          </p:spPr>
          <p:txBody>
            <a:bodyPr lIns="19045" tIns="19045" rIns="19045" bIns="19045" anchor="ctr"/>
            <a:lstStyle/>
            <a:p>
              <a:pPr defTabSz="2286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 sz="1500">
                <a:latin typeface="汉仪正圆-55W" panose="00020600040101010101" pitchFamily="18" charset="-122"/>
                <a:ea typeface="汉仪正圆-55W" panose="00020600040101010101" pitchFamily="18" charset="-122"/>
                <a:cs typeface="Source Sans Pro Light" charset="0"/>
                <a:sym typeface="汉仪正圆-55W" panose="00020600040101010101" pitchFamily="18" charset="-122"/>
              </a:endParaRPr>
            </a:p>
          </p:txBody>
        </p:sp>
      </p:grpSp>
      <p:sp>
        <p:nvSpPr>
          <p:cNvPr id="41" name="深度视觉·原创设计 https://www.docer.com/works?userid=22383862"/>
          <p:cNvSpPr/>
          <p:nvPr/>
        </p:nvSpPr>
        <p:spPr>
          <a:xfrm>
            <a:off x="6804196" y="3790256"/>
            <a:ext cx="3685744" cy="587332"/>
          </a:xfrm>
          <a:prstGeom prst="rect">
            <a:avLst/>
          </a:prstGeom>
        </p:spPr>
        <p:txBody>
          <a:bodyPr wrap="square" lIns="91433" tIns="45716" rIns="91433" bIns="45716">
            <a:spAutoFit/>
          </a:bodyPr>
          <a:lstStyle/>
          <a:p>
            <a:pPr lvl="0" algn="l">
              <a:lnSpc>
                <a:spcPts val="2000"/>
              </a:lnSpc>
              <a:defRPr/>
            </a:pPr>
            <a:r>
              <a:rPr lang="zh-CN" altLang="en-US" sz="1200" dirty="0">
                <a:solidFill>
                  <a:schemeClr val="bg1">
                    <a:lumMod val="50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请在此处添加具体内容，文字尽量言简意赅，简单说明即可，不必过于繁琐，注意板面美观度。</a:t>
            </a:r>
            <a:endParaRPr lang="zh-CN" altLang="en-US" sz="1200" dirty="0">
              <a:solidFill>
                <a:schemeClr val="bg1">
                  <a:lumMod val="50000"/>
                </a:schemeClr>
              </a:solidFill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42" name="深度视觉·原创设计 https://www.docer.com/works?userid=22383862"/>
          <p:cNvSpPr txBox="1"/>
          <p:nvPr/>
        </p:nvSpPr>
        <p:spPr>
          <a:xfrm>
            <a:off x="6396362" y="1917355"/>
            <a:ext cx="346761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zh-CN" altLang="en-US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添加页面标题内容</a:t>
            </a:r>
            <a:endParaRPr lang="zh-CN" altLang="en-US" sz="3200" dirty="0">
              <a:solidFill>
                <a:schemeClr val="tx1">
                  <a:lumMod val="75000"/>
                  <a:lumOff val="25000"/>
                </a:schemeClr>
              </a:solidFill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43" name="深度视觉·原创设计 https://www.docer.com/works?userid=22383862"/>
          <p:cNvSpPr/>
          <p:nvPr/>
        </p:nvSpPr>
        <p:spPr>
          <a:xfrm>
            <a:off x="6463005" y="2575989"/>
            <a:ext cx="4279048" cy="6232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lnSpc>
                <a:spcPct val="150000"/>
              </a:lnSpc>
            </a:pPr>
            <a:r>
              <a:rPr lang="zh-CN" altLang="en-US" sz="1200" dirty="0">
                <a:solidFill>
                  <a:schemeClr val="bg1">
                    <a:lumMod val="50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单击此处添加文字阐述，添加简短问题说明文字，具体添加文字在此处添加单击</a:t>
            </a:r>
            <a:endParaRPr lang="zh-CN" altLang="en-US" sz="1200" dirty="0">
              <a:solidFill>
                <a:schemeClr val="bg1">
                  <a:lumMod val="50000"/>
                </a:schemeClr>
              </a:solidFill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3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4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5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6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8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9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0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000"/>
                            </p:stCondLst>
                            <p:childTnLst>
                              <p:par>
                                <p:cTn id="2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500"/>
                            </p:stCondLst>
                            <p:childTnLst>
                              <p:par>
                                <p:cTn id="26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3000"/>
                            </p:stCondLst>
                            <p:childTnLst>
                              <p:par>
                                <p:cTn id="3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4054"/>
                                  </p:iterate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25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25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25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42" dur="75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 animBg="1"/>
      <p:bldP spid="41" grpId="0"/>
      <p:bldP spid="43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深度视觉·原创设计 https://www.docer.com/works?userid=22383862"/>
          <p:cNvSpPr/>
          <p:nvPr/>
        </p:nvSpPr>
        <p:spPr>
          <a:xfrm flipH="1">
            <a:off x="11252019" y="5989229"/>
            <a:ext cx="939981" cy="868771"/>
          </a:xfrm>
          <a:prstGeom prst="corner">
            <a:avLst>
              <a:gd name="adj1" fmla="val 17397"/>
              <a:gd name="adj2" fmla="val 16614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86" name="深度视觉·原创设计 https://www.docer.com/works?userid=22383862"/>
          <p:cNvSpPr/>
          <p:nvPr/>
        </p:nvSpPr>
        <p:spPr>
          <a:xfrm rot="10800000" flipH="1">
            <a:off x="0" y="0"/>
            <a:ext cx="939981" cy="868771"/>
          </a:xfrm>
          <a:prstGeom prst="corner">
            <a:avLst>
              <a:gd name="adj1" fmla="val 17397"/>
              <a:gd name="adj2" fmla="val 16614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87" name="深度视觉·原创设计 https://www.docer.com/works?userid=22383862"/>
          <p:cNvSpPr/>
          <p:nvPr/>
        </p:nvSpPr>
        <p:spPr>
          <a:xfrm>
            <a:off x="4535714" y="350796"/>
            <a:ext cx="3120572" cy="51797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88" name="深度视觉·原创设计 https://www.docer.com/works?userid=22383862"/>
          <p:cNvSpPr txBox="1"/>
          <p:nvPr/>
        </p:nvSpPr>
        <p:spPr>
          <a:xfrm>
            <a:off x="4966459" y="455895"/>
            <a:ext cx="2259081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2000" spc="300" dirty="0">
                <a:solidFill>
                  <a:schemeClr val="tx1">
                    <a:lumMod val="75000"/>
                    <a:lumOff val="25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cs typeface="Alibaba PuHuiTi" pitchFamily="18" charset="-122"/>
                <a:sym typeface="汉仪正圆-55W" panose="00020600040101010101" pitchFamily="18" charset="-122"/>
              </a:rPr>
              <a:t>输入您的标题</a:t>
            </a:r>
            <a:endParaRPr kumimoji="0" lang="zh-CN" altLang="en-US" sz="2000" i="0" u="none" strike="noStrike" kern="1200" cap="none" spc="30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汉仪正圆-55W" panose="00020600040101010101" pitchFamily="18" charset="-122"/>
              <a:ea typeface="汉仪正圆-55W" panose="00020600040101010101" pitchFamily="18" charset="-122"/>
              <a:cs typeface="Alibaba PuHuiTi" pitchFamily="18" charset="-122"/>
              <a:sym typeface="汉仪正圆-55W" panose="00020600040101010101" pitchFamily="18" charset="-122"/>
            </a:endParaRPr>
          </a:p>
        </p:txBody>
      </p:sp>
      <p:grpSp>
        <p:nvGrpSpPr>
          <p:cNvPr id="43" name="深度视觉·原创设计 https://www.docer.com/works?userid=22383862"/>
          <p:cNvGrpSpPr/>
          <p:nvPr/>
        </p:nvGrpSpPr>
        <p:grpSpPr>
          <a:xfrm>
            <a:off x="4004218" y="1655734"/>
            <a:ext cx="4117446" cy="4117446"/>
            <a:chOff x="2241297" y="1866749"/>
            <a:chExt cx="4117446" cy="4117446"/>
          </a:xfrm>
        </p:grpSpPr>
        <p:sp>
          <p:nvSpPr>
            <p:cNvPr id="44" name="深度视觉·原创设计 https://www.docer.com/works?userid=22383862"/>
            <p:cNvSpPr/>
            <p:nvPr>
              <p:custDataLst>
                <p:tags r:id="rId1"/>
              </p:custDataLst>
            </p:nvPr>
          </p:nvSpPr>
          <p:spPr>
            <a:xfrm>
              <a:off x="2241297" y="1866749"/>
              <a:ext cx="4117446" cy="4117446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  <a:prstDash val="dash"/>
            </a:ln>
            <a:effectLst>
              <a:outerShdw blurRad="50800" dist="38100" dir="5400000" algn="t" rotWithShape="0">
                <a:prstClr val="black">
                  <a:alpha val="11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45" name="深度视觉·原创设计 https://www.docer.com/works?userid=22383862"/>
            <p:cNvSpPr/>
            <p:nvPr>
              <p:custDataLst>
                <p:tags r:id="rId2"/>
              </p:custDataLst>
            </p:nvPr>
          </p:nvSpPr>
          <p:spPr>
            <a:xfrm>
              <a:off x="2385639" y="2006592"/>
              <a:ext cx="3828761" cy="3828761"/>
            </a:xfrm>
            <a:prstGeom prst="ellipse">
              <a:avLst/>
            </a:prstGeom>
            <a:solidFill>
              <a:schemeClr val="accent1"/>
            </a:solidFill>
            <a:ln>
              <a:noFill/>
              <a:prstDash val="dash"/>
            </a:ln>
            <a:effectLst>
              <a:outerShdw blurRad="50800" dist="38100" dir="5400000" algn="t" rotWithShape="0">
                <a:prstClr val="black">
                  <a:alpha val="11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</p:grpSp>
      <p:grpSp>
        <p:nvGrpSpPr>
          <p:cNvPr id="46" name="深度视觉·原创设计 https://www.docer.com/works?userid=22383862"/>
          <p:cNvGrpSpPr/>
          <p:nvPr/>
        </p:nvGrpSpPr>
        <p:grpSpPr>
          <a:xfrm>
            <a:off x="4767685" y="2652827"/>
            <a:ext cx="2720283" cy="2192194"/>
            <a:chOff x="3004764" y="2863842"/>
            <a:chExt cx="2720283" cy="2192194"/>
          </a:xfrm>
        </p:grpSpPr>
        <p:grpSp>
          <p:nvGrpSpPr>
            <p:cNvPr id="47" name="Group 8"/>
            <p:cNvGrpSpPr/>
            <p:nvPr/>
          </p:nvGrpSpPr>
          <p:grpSpPr>
            <a:xfrm>
              <a:off x="3056718" y="2915796"/>
              <a:ext cx="2661818" cy="2082512"/>
              <a:chOff x="2915359" y="2814052"/>
              <a:chExt cx="2928001" cy="2290764"/>
            </a:xfrm>
          </p:grpSpPr>
          <p:cxnSp>
            <p:nvCxnSpPr>
              <p:cNvPr id="51" name="深度视觉·原创设计 https://www.docer.com/works?userid=22383862"/>
              <p:cNvCxnSpPr/>
              <p:nvPr/>
            </p:nvCxnSpPr>
            <p:spPr>
              <a:xfrm>
                <a:off x="2915359" y="2814052"/>
                <a:ext cx="1470025" cy="1069975"/>
              </a:xfrm>
              <a:prstGeom prst="line">
                <a:avLst/>
              </a:prstGeom>
              <a:ln w="28575">
                <a:solidFill>
                  <a:schemeClr val="bg1">
                    <a:lumMod val="95000"/>
                  </a:schemeClr>
                </a:solidFill>
                <a:prstDash val="solid"/>
                <a:headEnd type="oval" w="med" len="med"/>
                <a:tailEnd type="none" w="med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深度视觉·原创设计 https://www.docer.com/works?userid=22383862"/>
              <p:cNvCxnSpPr>
                <a:stCxn id="50" idx="6"/>
              </p:cNvCxnSpPr>
              <p:nvPr/>
            </p:nvCxnSpPr>
            <p:spPr>
              <a:xfrm flipH="1">
                <a:off x="4198064" y="3372395"/>
                <a:ext cx="1645296" cy="489408"/>
              </a:xfrm>
              <a:prstGeom prst="line">
                <a:avLst/>
              </a:prstGeom>
              <a:ln w="28575">
                <a:solidFill>
                  <a:schemeClr val="bg1">
                    <a:lumMod val="95000"/>
                  </a:schemeClr>
                </a:solidFill>
                <a:prstDash val="solid"/>
                <a:headEnd type="oval" w="med" len="med"/>
                <a:tailEnd type="none" w="med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深度视觉·原创设计 https://www.docer.com/works?userid=22383862"/>
              <p:cNvCxnSpPr/>
              <p:nvPr/>
            </p:nvCxnSpPr>
            <p:spPr>
              <a:xfrm flipV="1">
                <a:off x="3451934" y="4535905"/>
                <a:ext cx="371670" cy="568911"/>
              </a:xfrm>
              <a:prstGeom prst="line">
                <a:avLst/>
              </a:prstGeom>
              <a:ln w="28575">
                <a:solidFill>
                  <a:schemeClr val="bg1">
                    <a:lumMod val="95000"/>
                  </a:schemeClr>
                </a:solidFill>
                <a:prstDash val="solid"/>
                <a:headEnd type="oval" w="med" len="med"/>
                <a:tailEnd type="none" w="med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48" name="深度视觉·原创设计 https://www.docer.com/works?userid=22383862"/>
            <p:cNvSpPr/>
            <p:nvPr/>
          </p:nvSpPr>
          <p:spPr bwMode="auto">
            <a:xfrm>
              <a:off x="3004764" y="2863842"/>
              <a:ext cx="103909" cy="10390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id-ID" sz="1600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49" name="深度视觉·原创设计 https://www.docer.com/works?userid=22383862"/>
            <p:cNvSpPr/>
            <p:nvPr/>
          </p:nvSpPr>
          <p:spPr>
            <a:xfrm rot="6907592">
              <a:off x="3489673" y="4940581"/>
              <a:ext cx="115455" cy="11545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id-ID" sz="1600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50" name="深度视觉·原创设计 https://www.docer.com/works?userid=22383862"/>
            <p:cNvSpPr/>
            <p:nvPr/>
          </p:nvSpPr>
          <p:spPr>
            <a:xfrm rot="20038587">
              <a:off x="5596603" y="3387335"/>
              <a:ext cx="128444" cy="12844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id-ID" sz="1600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</p:grpSp>
      <p:grpSp>
        <p:nvGrpSpPr>
          <p:cNvPr id="54" name="深度视觉·原创设计 https://www.docer.com/works?userid=22383862"/>
          <p:cNvGrpSpPr/>
          <p:nvPr/>
        </p:nvGrpSpPr>
        <p:grpSpPr>
          <a:xfrm>
            <a:off x="5210514" y="2858973"/>
            <a:ext cx="1659659" cy="1659659"/>
            <a:chOff x="3447593" y="3069988"/>
            <a:chExt cx="1659659" cy="1659659"/>
          </a:xfrm>
        </p:grpSpPr>
        <p:sp>
          <p:nvSpPr>
            <p:cNvPr id="55" name="深度视觉·原创设计 https://www.docer.com/works?userid=22383862"/>
            <p:cNvSpPr/>
            <p:nvPr/>
          </p:nvSpPr>
          <p:spPr bwMode="auto">
            <a:xfrm>
              <a:off x="3447593" y="3069988"/>
              <a:ext cx="1659659" cy="165965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en-US" sz="1600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56" name="深度视觉·原创设计 https://www.docer.com/works?userid=22383862"/>
            <p:cNvSpPr/>
            <p:nvPr/>
          </p:nvSpPr>
          <p:spPr bwMode="auto">
            <a:xfrm>
              <a:off x="3528057" y="3147995"/>
              <a:ext cx="1507091" cy="1507091"/>
            </a:xfrm>
            <a:prstGeom prst="ellipse">
              <a:avLst/>
            </a:prstGeom>
            <a:solidFill>
              <a:schemeClr val="accent2"/>
            </a:solidFill>
            <a:ln w="381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en-US" sz="1600">
                <a:solidFill>
                  <a:prstClr val="white"/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grpSp>
          <p:nvGrpSpPr>
            <p:cNvPr id="57" name="Group 103"/>
            <p:cNvGrpSpPr/>
            <p:nvPr/>
          </p:nvGrpSpPr>
          <p:grpSpPr>
            <a:xfrm>
              <a:off x="3882396" y="3374775"/>
              <a:ext cx="800211" cy="771046"/>
              <a:chOff x="5513430" y="3164683"/>
              <a:chExt cx="1171589" cy="1128889"/>
            </a:xfrm>
            <a:solidFill>
              <a:schemeClr val="bg1"/>
            </a:solidFill>
          </p:grpSpPr>
          <p:sp>
            <p:nvSpPr>
              <p:cNvPr id="59" name="深度视觉·原创设计 https://www.docer.com/works?userid=22383862"/>
              <p:cNvSpPr/>
              <p:nvPr/>
            </p:nvSpPr>
            <p:spPr bwMode="auto">
              <a:xfrm>
                <a:off x="5513430" y="3781929"/>
                <a:ext cx="1171589" cy="511643"/>
              </a:xfrm>
              <a:custGeom>
                <a:avLst/>
                <a:gdLst>
                  <a:gd name="connsiteX0" fmla="*/ 406429 w 1171589"/>
                  <a:gd name="connsiteY0" fmla="*/ 0 h 511643"/>
                  <a:gd name="connsiteX1" fmla="*/ 421335 w 1171589"/>
                  <a:gd name="connsiteY1" fmla="*/ 38522 h 511643"/>
                  <a:gd name="connsiteX2" fmla="*/ 458102 w 1171589"/>
                  <a:gd name="connsiteY2" fmla="*/ 123468 h 511643"/>
                  <a:gd name="connsiteX3" fmla="*/ 478970 w 1171589"/>
                  <a:gd name="connsiteY3" fmla="*/ 168904 h 511643"/>
                  <a:gd name="connsiteX4" fmla="*/ 499838 w 1171589"/>
                  <a:gd name="connsiteY4" fmla="*/ 208413 h 511643"/>
                  <a:gd name="connsiteX5" fmla="*/ 507788 w 1171589"/>
                  <a:gd name="connsiteY5" fmla="*/ 223229 h 511643"/>
                  <a:gd name="connsiteX6" fmla="*/ 516732 w 1171589"/>
                  <a:gd name="connsiteY6" fmla="*/ 236070 h 511643"/>
                  <a:gd name="connsiteX7" fmla="*/ 521700 w 1171589"/>
                  <a:gd name="connsiteY7" fmla="*/ 243972 h 511643"/>
                  <a:gd name="connsiteX8" fmla="*/ 524681 w 1171589"/>
                  <a:gd name="connsiteY8" fmla="*/ 246935 h 511643"/>
                  <a:gd name="connsiteX9" fmla="*/ 527662 w 1171589"/>
                  <a:gd name="connsiteY9" fmla="*/ 246935 h 511643"/>
                  <a:gd name="connsiteX10" fmla="*/ 530644 w 1171589"/>
                  <a:gd name="connsiteY10" fmla="*/ 246935 h 511643"/>
                  <a:gd name="connsiteX11" fmla="*/ 532631 w 1171589"/>
                  <a:gd name="connsiteY11" fmla="*/ 243972 h 511643"/>
                  <a:gd name="connsiteX12" fmla="*/ 538593 w 1171589"/>
                  <a:gd name="connsiteY12" fmla="*/ 237058 h 511643"/>
                  <a:gd name="connsiteX13" fmla="*/ 543562 w 1171589"/>
                  <a:gd name="connsiteY13" fmla="*/ 225205 h 511643"/>
                  <a:gd name="connsiteX14" fmla="*/ 549524 w 1171589"/>
                  <a:gd name="connsiteY14" fmla="*/ 211376 h 511643"/>
                  <a:gd name="connsiteX15" fmla="*/ 553499 w 1171589"/>
                  <a:gd name="connsiteY15" fmla="*/ 195573 h 511643"/>
                  <a:gd name="connsiteX16" fmla="*/ 557474 w 1171589"/>
                  <a:gd name="connsiteY16" fmla="*/ 177793 h 511643"/>
                  <a:gd name="connsiteX17" fmla="*/ 559461 w 1171589"/>
                  <a:gd name="connsiteY17" fmla="*/ 161989 h 511643"/>
                  <a:gd name="connsiteX18" fmla="*/ 560455 w 1171589"/>
                  <a:gd name="connsiteY18" fmla="*/ 145198 h 511643"/>
                  <a:gd name="connsiteX19" fmla="*/ 559461 w 1171589"/>
                  <a:gd name="connsiteY19" fmla="*/ 133345 h 511643"/>
                  <a:gd name="connsiteX20" fmla="*/ 557474 w 1171589"/>
                  <a:gd name="connsiteY20" fmla="*/ 124455 h 511643"/>
                  <a:gd name="connsiteX21" fmla="*/ 554493 w 1171589"/>
                  <a:gd name="connsiteY21" fmla="*/ 117541 h 511643"/>
                  <a:gd name="connsiteX22" fmla="*/ 552505 w 1171589"/>
                  <a:gd name="connsiteY22" fmla="*/ 112602 h 511643"/>
                  <a:gd name="connsiteX23" fmla="*/ 543562 w 1171589"/>
                  <a:gd name="connsiteY23" fmla="*/ 104701 h 511643"/>
                  <a:gd name="connsiteX24" fmla="*/ 538593 w 1171589"/>
                  <a:gd name="connsiteY24" fmla="*/ 99762 h 511643"/>
                  <a:gd name="connsiteX25" fmla="*/ 534618 w 1171589"/>
                  <a:gd name="connsiteY25" fmla="*/ 94823 h 511643"/>
                  <a:gd name="connsiteX26" fmla="*/ 525675 w 1171589"/>
                  <a:gd name="connsiteY26" fmla="*/ 80995 h 511643"/>
                  <a:gd name="connsiteX27" fmla="*/ 518719 w 1171589"/>
                  <a:gd name="connsiteY27" fmla="*/ 69142 h 511643"/>
                  <a:gd name="connsiteX28" fmla="*/ 513750 w 1171589"/>
                  <a:gd name="connsiteY28" fmla="*/ 53338 h 511643"/>
                  <a:gd name="connsiteX29" fmla="*/ 657839 w 1171589"/>
                  <a:gd name="connsiteY29" fmla="*/ 53338 h 511643"/>
                  <a:gd name="connsiteX30" fmla="*/ 652870 w 1171589"/>
                  <a:gd name="connsiteY30" fmla="*/ 69142 h 511643"/>
                  <a:gd name="connsiteX31" fmla="*/ 645914 w 1171589"/>
                  <a:gd name="connsiteY31" fmla="*/ 80995 h 511643"/>
                  <a:gd name="connsiteX32" fmla="*/ 637965 w 1171589"/>
                  <a:gd name="connsiteY32" fmla="*/ 94823 h 511643"/>
                  <a:gd name="connsiteX33" fmla="*/ 632002 w 1171589"/>
                  <a:gd name="connsiteY33" fmla="*/ 99762 h 511643"/>
                  <a:gd name="connsiteX34" fmla="*/ 628028 w 1171589"/>
                  <a:gd name="connsiteY34" fmla="*/ 104701 h 511643"/>
                  <a:gd name="connsiteX35" fmla="*/ 620078 w 1171589"/>
                  <a:gd name="connsiteY35" fmla="*/ 112602 h 511643"/>
                  <a:gd name="connsiteX36" fmla="*/ 617097 w 1171589"/>
                  <a:gd name="connsiteY36" fmla="*/ 117541 h 511643"/>
                  <a:gd name="connsiteX37" fmla="*/ 614116 w 1171589"/>
                  <a:gd name="connsiteY37" fmla="*/ 124455 h 511643"/>
                  <a:gd name="connsiteX38" fmla="*/ 611134 w 1171589"/>
                  <a:gd name="connsiteY38" fmla="*/ 133345 h 511643"/>
                  <a:gd name="connsiteX39" fmla="*/ 611134 w 1171589"/>
                  <a:gd name="connsiteY39" fmla="*/ 145198 h 511643"/>
                  <a:gd name="connsiteX40" fmla="*/ 613122 w 1171589"/>
                  <a:gd name="connsiteY40" fmla="*/ 161989 h 511643"/>
                  <a:gd name="connsiteX41" fmla="*/ 614116 w 1171589"/>
                  <a:gd name="connsiteY41" fmla="*/ 177793 h 511643"/>
                  <a:gd name="connsiteX42" fmla="*/ 618090 w 1171589"/>
                  <a:gd name="connsiteY42" fmla="*/ 195573 h 511643"/>
                  <a:gd name="connsiteX43" fmla="*/ 622065 w 1171589"/>
                  <a:gd name="connsiteY43" fmla="*/ 211376 h 511643"/>
                  <a:gd name="connsiteX44" fmla="*/ 627034 w 1171589"/>
                  <a:gd name="connsiteY44" fmla="*/ 225205 h 511643"/>
                  <a:gd name="connsiteX45" fmla="*/ 632002 w 1171589"/>
                  <a:gd name="connsiteY45" fmla="*/ 237058 h 511643"/>
                  <a:gd name="connsiteX46" fmla="*/ 637965 w 1171589"/>
                  <a:gd name="connsiteY46" fmla="*/ 243972 h 511643"/>
                  <a:gd name="connsiteX47" fmla="*/ 641940 w 1171589"/>
                  <a:gd name="connsiteY47" fmla="*/ 246935 h 511643"/>
                  <a:gd name="connsiteX48" fmla="*/ 644921 w 1171589"/>
                  <a:gd name="connsiteY48" fmla="*/ 246935 h 511643"/>
                  <a:gd name="connsiteX49" fmla="*/ 645914 w 1171589"/>
                  <a:gd name="connsiteY49" fmla="*/ 246935 h 511643"/>
                  <a:gd name="connsiteX50" fmla="*/ 648896 w 1171589"/>
                  <a:gd name="connsiteY50" fmla="*/ 243972 h 511643"/>
                  <a:gd name="connsiteX51" fmla="*/ 655852 w 1171589"/>
                  <a:gd name="connsiteY51" fmla="*/ 236070 h 511643"/>
                  <a:gd name="connsiteX52" fmla="*/ 663801 w 1171589"/>
                  <a:gd name="connsiteY52" fmla="*/ 223229 h 511643"/>
                  <a:gd name="connsiteX53" fmla="*/ 671751 w 1171589"/>
                  <a:gd name="connsiteY53" fmla="*/ 208413 h 511643"/>
                  <a:gd name="connsiteX54" fmla="*/ 692619 w 1171589"/>
                  <a:gd name="connsiteY54" fmla="*/ 168904 h 511643"/>
                  <a:gd name="connsiteX55" fmla="*/ 713487 w 1171589"/>
                  <a:gd name="connsiteY55" fmla="*/ 123468 h 511643"/>
                  <a:gd name="connsiteX56" fmla="*/ 750254 w 1171589"/>
                  <a:gd name="connsiteY56" fmla="*/ 38522 h 511643"/>
                  <a:gd name="connsiteX57" fmla="*/ 765160 w 1171589"/>
                  <a:gd name="connsiteY57" fmla="*/ 0 h 511643"/>
                  <a:gd name="connsiteX58" fmla="*/ 772116 w 1171589"/>
                  <a:gd name="connsiteY58" fmla="*/ 5927 h 511643"/>
                  <a:gd name="connsiteX59" fmla="*/ 789009 w 1171589"/>
                  <a:gd name="connsiteY59" fmla="*/ 17779 h 511643"/>
                  <a:gd name="connsiteX60" fmla="*/ 801928 w 1171589"/>
                  <a:gd name="connsiteY60" fmla="*/ 26669 h 511643"/>
                  <a:gd name="connsiteX61" fmla="*/ 816833 w 1171589"/>
                  <a:gd name="connsiteY61" fmla="*/ 34571 h 511643"/>
                  <a:gd name="connsiteX62" fmla="*/ 834720 w 1171589"/>
                  <a:gd name="connsiteY62" fmla="*/ 42473 h 511643"/>
                  <a:gd name="connsiteX63" fmla="*/ 853601 w 1171589"/>
                  <a:gd name="connsiteY63" fmla="*/ 49387 h 511643"/>
                  <a:gd name="connsiteX64" fmla="*/ 870494 w 1171589"/>
                  <a:gd name="connsiteY64" fmla="*/ 55314 h 511643"/>
                  <a:gd name="connsiteX65" fmla="*/ 889374 w 1171589"/>
                  <a:gd name="connsiteY65" fmla="*/ 59264 h 511643"/>
                  <a:gd name="connsiteX66" fmla="*/ 911236 w 1171589"/>
                  <a:gd name="connsiteY66" fmla="*/ 64203 h 511643"/>
                  <a:gd name="connsiteX67" fmla="*/ 936079 w 1171589"/>
                  <a:gd name="connsiteY67" fmla="*/ 74081 h 511643"/>
                  <a:gd name="connsiteX68" fmla="*/ 949991 w 1171589"/>
                  <a:gd name="connsiteY68" fmla="*/ 80007 h 511643"/>
                  <a:gd name="connsiteX69" fmla="*/ 964897 w 1171589"/>
                  <a:gd name="connsiteY69" fmla="*/ 86921 h 511643"/>
                  <a:gd name="connsiteX70" fmla="*/ 980796 w 1171589"/>
                  <a:gd name="connsiteY70" fmla="*/ 94823 h 511643"/>
                  <a:gd name="connsiteX71" fmla="*/ 995702 w 1171589"/>
                  <a:gd name="connsiteY71" fmla="*/ 105688 h 511643"/>
                  <a:gd name="connsiteX72" fmla="*/ 1012595 w 1171589"/>
                  <a:gd name="connsiteY72" fmla="*/ 116553 h 511643"/>
                  <a:gd name="connsiteX73" fmla="*/ 1028494 w 1171589"/>
                  <a:gd name="connsiteY73" fmla="*/ 130382 h 511643"/>
                  <a:gd name="connsiteX74" fmla="*/ 1046381 w 1171589"/>
                  <a:gd name="connsiteY74" fmla="*/ 147173 h 511643"/>
                  <a:gd name="connsiteX75" fmla="*/ 1064268 w 1171589"/>
                  <a:gd name="connsiteY75" fmla="*/ 164953 h 511643"/>
                  <a:gd name="connsiteX76" fmla="*/ 1081161 w 1171589"/>
                  <a:gd name="connsiteY76" fmla="*/ 182732 h 511643"/>
                  <a:gd name="connsiteX77" fmla="*/ 1095073 w 1171589"/>
                  <a:gd name="connsiteY77" fmla="*/ 200511 h 511643"/>
                  <a:gd name="connsiteX78" fmla="*/ 1106998 w 1171589"/>
                  <a:gd name="connsiteY78" fmla="*/ 219278 h 511643"/>
                  <a:gd name="connsiteX79" fmla="*/ 1119916 w 1171589"/>
                  <a:gd name="connsiteY79" fmla="*/ 237058 h 511643"/>
                  <a:gd name="connsiteX80" fmla="*/ 1128859 w 1171589"/>
                  <a:gd name="connsiteY80" fmla="*/ 255825 h 511643"/>
                  <a:gd name="connsiteX81" fmla="*/ 1137803 w 1171589"/>
                  <a:gd name="connsiteY81" fmla="*/ 273604 h 511643"/>
                  <a:gd name="connsiteX82" fmla="*/ 1150721 w 1171589"/>
                  <a:gd name="connsiteY82" fmla="*/ 307187 h 511643"/>
                  <a:gd name="connsiteX83" fmla="*/ 1160658 w 1171589"/>
                  <a:gd name="connsiteY83" fmla="*/ 335832 h 511643"/>
                  <a:gd name="connsiteX84" fmla="*/ 1167614 w 1171589"/>
                  <a:gd name="connsiteY84" fmla="*/ 358550 h 511643"/>
                  <a:gd name="connsiteX85" fmla="*/ 1168203 w 1171589"/>
                  <a:gd name="connsiteY85" fmla="*/ 361624 h 511643"/>
                  <a:gd name="connsiteX86" fmla="*/ 1171589 w 1171589"/>
                  <a:gd name="connsiteY86" fmla="*/ 361624 h 511643"/>
                  <a:gd name="connsiteX87" fmla="*/ 1171589 w 1171589"/>
                  <a:gd name="connsiteY87" fmla="*/ 379292 h 511643"/>
                  <a:gd name="connsiteX88" fmla="*/ 1171589 w 1171589"/>
                  <a:gd name="connsiteY88" fmla="*/ 511643 h 511643"/>
                  <a:gd name="connsiteX89" fmla="*/ 0 w 1171589"/>
                  <a:gd name="connsiteY89" fmla="*/ 511643 h 511643"/>
                  <a:gd name="connsiteX90" fmla="*/ 0 w 1171589"/>
                  <a:gd name="connsiteY90" fmla="*/ 379292 h 511643"/>
                  <a:gd name="connsiteX91" fmla="*/ 0 w 1171589"/>
                  <a:gd name="connsiteY91" fmla="*/ 361624 h 511643"/>
                  <a:gd name="connsiteX92" fmla="*/ 3386 w 1171589"/>
                  <a:gd name="connsiteY92" fmla="*/ 361624 h 511643"/>
                  <a:gd name="connsiteX93" fmla="*/ 3975 w 1171589"/>
                  <a:gd name="connsiteY93" fmla="*/ 358550 h 511643"/>
                  <a:gd name="connsiteX94" fmla="*/ 9937 w 1171589"/>
                  <a:gd name="connsiteY94" fmla="*/ 335832 h 511643"/>
                  <a:gd name="connsiteX95" fmla="*/ 18881 w 1171589"/>
                  <a:gd name="connsiteY95" fmla="*/ 307187 h 511643"/>
                  <a:gd name="connsiteX96" fmla="*/ 32793 w 1171589"/>
                  <a:gd name="connsiteY96" fmla="*/ 273604 h 511643"/>
                  <a:gd name="connsiteX97" fmla="*/ 42730 w 1171589"/>
                  <a:gd name="connsiteY97" fmla="*/ 255825 h 511643"/>
                  <a:gd name="connsiteX98" fmla="*/ 52667 w 1171589"/>
                  <a:gd name="connsiteY98" fmla="*/ 237058 h 511643"/>
                  <a:gd name="connsiteX99" fmla="*/ 63598 w 1171589"/>
                  <a:gd name="connsiteY99" fmla="*/ 219278 h 511643"/>
                  <a:gd name="connsiteX100" fmla="*/ 77510 w 1171589"/>
                  <a:gd name="connsiteY100" fmla="*/ 200511 h 511643"/>
                  <a:gd name="connsiteX101" fmla="*/ 90428 w 1171589"/>
                  <a:gd name="connsiteY101" fmla="*/ 182732 h 511643"/>
                  <a:gd name="connsiteX102" fmla="*/ 107321 w 1171589"/>
                  <a:gd name="connsiteY102" fmla="*/ 164953 h 511643"/>
                  <a:gd name="connsiteX103" fmla="*/ 125208 w 1171589"/>
                  <a:gd name="connsiteY103" fmla="*/ 147173 h 511643"/>
                  <a:gd name="connsiteX104" fmla="*/ 143095 w 1171589"/>
                  <a:gd name="connsiteY104" fmla="*/ 130382 h 511643"/>
                  <a:gd name="connsiteX105" fmla="*/ 159988 w 1171589"/>
                  <a:gd name="connsiteY105" fmla="*/ 116553 h 511643"/>
                  <a:gd name="connsiteX106" fmla="*/ 175888 w 1171589"/>
                  <a:gd name="connsiteY106" fmla="*/ 105688 h 511643"/>
                  <a:gd name="connsiteX107" fmla="*/ 191787 w 1171589"/>
                  <a:gd name="connsiteY107" fmla="*/ 94823 h 511643"/>
                  <a:gd name="connsiteX108" fmla="*/ 206693 w 1171589"/>
                  <a:gd name="connsiteY108" fmla="*/ 86921 h 511643"/>
                  <a:gd name="connsiteX109" fmla="*/ 220605 w 1171589"/>
                  <a:gd name="connsiteY109" fmla="*/ 80007 h 511643"/>
                  <a:gd name="connsiteX110" fmla="*/ 234517 w 1171589"/>
                  <a:gd name="connsiteY110" fmla="*/ 74081 h 511643"/>
                  <a:gd name="connsiteX111" fmla="*/ 260353 w 1171589"/>
                  <a:gd name="connsiteY111" fmla="*/ 64203 h 511643"/>
                  <a:gd name="connsiteX112" fmla="*/ 282215 w 1171589"/>
                  <a:gd name="connsiteY112" fmla="*/ 59264 h 511643"/>
                  <a:gd name="connsiteX113" fmla="*/ 301096 w 1171589"/>
                  <a:gd name="connsiteY113" fmla="*/ 55314 h 511643"/>
                  <a:gd name="connsiteX114" fmla="*/ 317989 w 1171589"/>
                  <a:gd name="connsiteY114" fmla="*/ 49387 h 511643"/>
                  <a:gd name="connsiteX115" fmla="*/ 337863 w 1171589"/>
                  <a:gd name="connsiteY115" fmla="*/ 42473 h 511643"/>
                  <a:gd name="connsiteX116" fmla="*/ 355750 w 1171589"/>
                  <a:gd name="connsiteY116" fmla="*/ 34571 h 511643"/>
                  <a:gd name="connsiteX117" fmla="*/ 368668 w 1171589"/>
                  <a:gd name="connsiteY117" fmla="*/ 26669 h 511643"/>
                  <a:gd name="connsiteX118" fmla="*/ 382580 w 1171589"/>
                  <a:gd name="connsiteY118" fmla="*/ 17779 h 511643"/>
                  <a:gd name="connsiteX119" fmla="*/ 399473 w 1171589"/>
                  <a:gd name="connsiteY119" fmla="*/ 5927 h 5116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</a:cxnLst>
                <a:rect l="l" t="t" r="r" b="b"/>
                <a:pathLst>
                  <a:path w="1171589" h="511643">
                    <a:moveTo>
                      <a:pt x="406429" y="0"/>
                    </a:moveTo>
                    <a:lnTo>
                      <a:pt x="421335" y="38522"/>
                    </a:lnTo>
                    <a:lnTo>
                      <a:pt x="458102" y="123468"/>
                    </a:lnTo>
                    <a:lnTo>
                      <a:pt x="478970" y="168904"/>
                    </a:lnTo>
                    <a:lnTo>
                      <a:pt x="499838" y="208413"/>
                    </a:lnTo>
                    <a:lnTo>
                      <a:pt x="507788" y="223229"/>
                    </a:lnTo>
                    <a:lnTo>
                      <a:pt x="516732" y="236070"/>
                    </a:lnTo>
                    <a:lnTo>
                      <a:pt x="521700" y="243972"/>
                    </a:lnTo>
                    <a:lnTo>
                      <a:pt x="524681" y="246935"/>
                    </a:lnTo>
                    <a:lnTo>
                      <a:pt x="527662" y="246935"/>
                    </a:lnTo>
                    <a:lnTo>
                      <a:pt x="530644" y="246935"/>
                    </a:lnTo>
                    <a:lnTo>
                      <a:pt x="532631" y="243972"/>
                    </a:lnTo>
                    <a:lnTo>
                      <a:pt x="538593" y="237058"/>
                    </a:lnTo>
                    <a:lnTo>
                      <a:pt x="543562" y="225205"/>
                    </a:lnTo>
                    <a:lnTo>
                      <a:pt x="549524" y="211376"/>
                    </a:lnTo>
                    <a:lnTo>
                      <a:pt x="553499" y="195573"/>
                    </a:lnTo>
                    <a:lnTo>
                      <a:pt x="557474" y="177793"/>
                    </a:lnTo>
                    <a:lnTo>
                      <a:pt x="559461" y="161989"/>
                    </a:lnTo>
                    <a:lnTo>
                      <a:pt x="560455" y="145198"/>
                    </a:lnTo>
                    <a:lnTo>
                      <a:pt x="559461" y="133345"/>
                    </a:lnTo>
                    <a:lnTo>
                      <a:pt x="557474" y="124455"/>
                    </a:lnTo>
                    <a:lnTo>
                      <a:pt x="554493" y="117541"/>
                    </a:lnTo>
                    <a:lnTo>
                      <a:pt x="552505" y="112602"/>
                    </a:lnTo>
                    <a:lnTo>
                      <a:pt x="543562" y="104701"/>
                    </a:lnTo>
                    <a:lnTo>
                      <a:pt x="538593" y="99762"/>
                    </a:lnTo>
                    <a:lnTo>
                      <a:pt x="534618" y="94823"/>
                    </a:lnTo>
                    <a:lnTo>
                      <a:pt x="525675" y="80995"/>
                    </a:lnTo>
                    <a:lnTo>
                      <a:pt x="518719" y="69142"/>
                    </a:lnTo>
                    <a:lnTo>
                      <a:pt x="513750" y="53338"/>
                    </a:lnTo>
                    <a:lnTo>
                      <a:pt x="657839" y="53338"/>
                    </a:lnTo>
                    <a:lnTo>
                      <a:pt x="652870" y="69142"/>
                    </a:lnTo>
                    <a:lnTo>
                      <a:pt x="645914" y="80995"/>
                    </a:lnTo>
                    <a:lnTo>
                      <a:pt x="637965" y="94823"/>
                    </a:lnTo>
                    <a:lnTo>
                      <a:pt x="632002" y="99762"/>
                    </a:lnTo>
                    <a:lnTo>
                      <a:pt x="628028" y="104701"/>
                    </a:lnTo>
                    <a:lnTo>
                      <a:pt x="620078" y="112602"/>
                    </a:lnTo>
                    <a:lnTo>
                      <a:pt x="617097" y="117541"/>
                    </a:lnTo>
                    <a:lnTo>
                      <a:pt x="614116" y="124455"/>
                    </a:lnTo>
                    <a:lnTo>
                      <a:pt x="611134" y="133345"/>
                    </a:lnTo>
                    <a:lnTo>
                      <a:pt x="611134" y="145198"/>
                    </a:lnTo>
                    <a:lnTo>
                      <a:pt x="613122" y="161989"/>
                    </a:lnTo>
                    <a:lnTo>
                      <a:pt x="614116" y="177793"/>
                    </a:lnTo>
                    <a:lnTo>
                      <a:pt x="618090" y="195573"/>
                    </a:lnTo>
                    <a:lnTo>
                      <a:pt x="622065" y="211376"/>
                    </a:lnTo>
                    <a:lnTo>
                      <a:pt x="627034" y="225205"/>
                    </a:lnTo>
                    <a:lnTo>
                      <a:pt x="632002" y="237058"/>
                    </a:lnTo>
                    <a:lnTo>
                      <a:pt x="637965" y="243972"/>
                    </a:lnTo>
                    <a:lnTo>
                      <a:pt x="641940" y="246935"/>
                    </a:lnTo>
                    <a:lnTo>
                      <a:pt x="644921" y="246935"/>
                    </a:lnTo>
                    <a:lnTo>
                      <a:pt x="645914" y="246935"/>
                    </a:lnTo>
                    <a:lnTo>
                      <a:pt x="648896" y="243972"/>
                    </a:lnTo>
                    <a:lnTo>
                      <a:pt x="655852" y="236070"/>
                    </a:lnTo>
                    <a:lnTo>
                      <a:pt x="663801" y="223229"/>
                    </a:lnTo>
                    <a:lnTo>
                      <a:pt x="671751" y="208413"/>
                    </a:lnTo>
                    <a:lnTo>
                      <a:pt x="692619" y="168904"/>
                    </a:lnTo>
                    <a:lnTo>
                      <a:pt x="713487" y="123468"/>
                    </a:lnTo>
                    <a:lnTo>
                      <a:pt x="750254" y="38522"/>
                    </a:lnTo>
                    <a:lnTo>
                      <a:pt x="765160" y="0"/>
                    </a:lnTo>
                    <a:lnTo>
                      <a:pt x="772116" y="5927"/>
                    </a:lnTo>
                    <a:lnTo>
                      <a:pt x="789009" y="17779"/>
                    </a:lnTo>
                    <a:lnTo>
                      <a:pt x="801928" y="26669"/>
                    </a:lnTo>
                    <a:lnTo>
                      <a:pt x="816833" y="34571"/>
                    </a:lnTo>
                    <a:lnTo>
                      <a:pt x="834720" y="42473"/>
                    </a:lnTo>
                    <a:lnTo>
                      <a:pt x="853601" y="49387"/>
                    </a:lnTo>
                    <a:lnTo>
                      <a:pt x="870494" y="55314"/>
                    </a:lnTo>
                    <a:lnTo>
                      <a:pt x="889374" y="59264"/>
                    </a:lnTo>
                    <a:lnTo>
                      <a:pt x="911236" y="64203"/>
                    </a:lnTo>
                    <a:lnTo>
                      <a:pt x="936079" y="74081"/>
                    </a:lnTo>
                    <a:lnTo>
                      <a:pt x="949991" y="80007"/>
                    </a:lnTo>
                    <a:lnTo>
                      <a:pt x="964897" y="86921"/>
                    </a:lnTo>
                    <a:lnTo>
                      <a:pt x="980796" y="94823"/>
                    </a:lnTo>
                    <a:lnTo>
                      <a:pt x="995702" y="105688"/>
                    </a:lnTo>
                    <a:lnTo>
                      <a:pt x="1012595" y="116553"/>
                    </a:lnTo>
                    <a:lnTo>
                      <a:pt x="1028494" y="130382"/>
                    </a:lnTo>
                    <a:lnTo>
                      <a:pt x="1046381" y="147173"/>
                    </a:lnTo>
                    <a:lnTo>
                      <a:pt x="1064268" y="164953"/>
                    </a:lnTo>
                    <a:lnTo>
                      <a:pt x="1081161" y="182732"/>
                    </a:lnTo>
                    <a:lnTo>
                      <a:pt x="1095073" y="200511"/>
                    </a:lnTo>
                    <a:lnTo>
                      <a:pt x="1106998" y="219278"/>
                    </a:lnTo>
                    <a:lnTo>
                      <a:pt x="1119916" y="237058"/>
                    </a:lnTo>
                    <a:lnTo>
                      <a:pt x="1128859" y="255825"/>
                    </a:lnTo>
                    <a:lnTo>
                      <a:pt x="1137803" y="273604"/>
                    </a:lnTo>
                    <a:lnTo>
                      <a:pt x="1150721" y="307187"/>
                    </a:lnTo>
                    <a:lnTo>
                      <a:pt x="1160658" y="335832"/>
                    </a:lnTo>
                    <a:lnTo>
                      <a:pt x="1167614" y="358550"/>
                    </a:lnTo>
                    <a:lnTo>
                      <a:pt x="1168203" y="361624"/>
                    </a:lnTo>
                    <a:lnTo>
                      <a:pt x="1171589" y="361624"/>
                    </a:lnTo>
                    <a:lnTo>
                      <a:pt x="1171589" y="379292"/>
                    </a:lnTo>
                    <a:lnTo>
                      <a:pt x="1171589" y="511643"/>
                    </a:lnTo>
                    <a:lnTo>
                      <a:pt x="0" y="511643"/>
                    </a:lnTo>
                    <a:lnTo>
                      <a:pt x="0" y="379292"/>
                    </a:lnTo>
                    <a:lnTo>
                      <a:pt x="0" y="361624"/>
                    </a:lnTo>
                    <a:lnTo>
                      <a:pt x="3386" y="361624"/>
                    </a:lnTo>
                    <a:lnTo>
                      <a:pt x="3975" y="358550"/>
                    </a:lnTo>
                    <a:lnTo>
                      <a:pt x="9937" y="335832"/>
                    </a:lnTo>
                    <a:lnTo>
                      <a:pt x="18881" y="307187"/>
                    </a:lnTo>
                    <a:lnTo>
                      <a:pt x="32793" y="273604"/>
                    </a:lnTo>
                    <a:lnTo>
                      <a:pt x="42730" y="255825"/>
                    </a:lnTo>
                    <a:lnTo>
                      <a:pt x="52667" y="237058"/>
                    </a:lnTo>
                    <a:lnTo>
                      <a:pt x="63598" y="219278"/>
                    </a:lnTo>
                    <a:lnTo>
                      <a:pt x="77510" y="200511"/>
                    </a:lnTo>
                    <a:lnTo>
                      <a:pt x="90428" y="182732"/>
                    </a:lnTo>
                    <a:lnTo>
                      <a:pt x="107321" y="164953"/>
                    </a:lnTo>
                    <a:lnTo>
                      <a:pt x="125208" y="147173"/>
                    </a:lnTo>
                    <a:lnTo>
                      <a:pt x="143095" y="130382"/>
                    </a:lnTo>
                    <a:lnTo>
                      <a:pt x="159988" y="116553"/>
                    </a:lnTo>
                    <a:lnTo>
                      <a:pt x="175888" y="105688"/>
                    </a:lnTo>
                    <a:lnTo>
                      <a:pt x="191787" y="94823"/>
                    </a:lnTo>
                    <a:lnTo>
                      <a:pt x="206693" y="86921"/>
                    </a:lnTo>
                    <a:lnTo>
                      <a:pt x="220605" y="80007"/>
                    </a:lnTo>
                    <a:lnTo>
                      <a:pt x="234517" y="74081"/>
                    </a:lnTo>
                    <a:lnTo>
                      <a:pt x="260353" y="64203"/>
                    </a:lnTo>
                    <a:lnTo>
                      <a:pt x="282215" y="59264"/>
                    </a:lnTo>
                    <a:lnTo>
                      <a:pt x="301096" y="55314"/>
                    </a:lnTo>
                    <a:lnTo>
                      <a:pt x="317989" y="49387"/>
                    </a:lnTo>
                    <a:lnTo>
                      <a:pt x="337863" y="42473"/>
                    </a:lnTo>
                    <a:lnTo>
                      <a:pt x="355750" y="34571"/>
                    </a:lnTo>
                    <a:lnTo>
                      <a:pt x="368668" y="26669"/>
                    </a:lnTo>
                    <a:lnTo>
                      <a:pt x="382580" y="17779"/>
                    </a:lnTo>
                    <a:lnTo>
                      <a:pt x="399473" y="592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>
                <a:noAutofit/>
              </a:bodyPr>
              <a:lstStyle/>
              <a:p>
                <a:pPr>
                  <a:defRPr/>
                </a:pPr>
                <a:endParaRPr lang="en-US" sz="1600">
                  <a:latin typeface="汉仪正圆-55W" panose="00020600040101010101" pitchFamily="18" charset="-122"/>
                  <a:ea typeface="汉仪正圆-55W" panose="00020600040101010101" pitchFamily="18" charset="-122"/>
                  <a:cs typeface="Arial" panose="020B0604020202020204" pitchFamily="34" charset="0"/>
                  <a:sym typeface="汉仪正圆-55W" panose="00020600040101010101" pitchFamily="18" charset="-122"/>
                </a:endParaRPr>
              </a:p>
            </p:txBody>
          </p:sp>
          <p:sp>
            <p:nvSpPr>
              <p:cNvPr id="60" name="深度视觉·原创设计 https://www.docer.com/works?userid=22383862"/>
              <p:cNvSpPr/>
              <p:nvPr/>
            </p:nvSpPr>
            <p:spPr bwMode="auto">
              <a:xfrm>
                <a:off x="5882781" y="3164683"/>
                <a:ext cx="430907" cy="605340"/>
              </a:xfrm>
              <a:custGeom>
                <a:avLst/>
                <a:gdLst>
                  <a:gd name="T0" fmla="*/ 215 w 432"/>
                  <a:gd name="T1" fmla="*/ 610 h 610"/>
                  <a:gd name="T2" fmla="*/ 233 w 432"/>
                  <a:gd name="T3" fmla="*/ 609 h 610"/>
                  <a:gd name="T4" fmla="*/ 258 w 432"/>
                  <a:gd name="T5" fmla="*/ 602 h 610"/>
                  <a:gd name="T6" fmla="*/ 289 w 432"/>
                  <a:gd name="T7" fmla="*/ 587 h 610"/>
                  <a:gd name="T8" fmla="*/ 306 w 432"/>
                  <a:gd name="T9" fmla="*/ 576 h 610"/>
                  <a:gd name="T10" fmla="*/ 339 w 432"/>
                  <a:gd name="T11" fmla="*/ 544 h 610"/>
                  <a:gd name="T12" fmla="*/ 375 w 432"/>
                  <a:gd name="T13" fmla="*/ 494 h 610"/>
                  <a:gd name="T14" fmla="*/ 402 w 432"/>
                  <a:gd name="T15" fmla="*/ 448 h 610"/>
                  <a:gd name="T16" fmla="*/ 415 w 432"/>
                  <a:gd name="T17" fmla="*/ 412 h 610"/>
                  <a:gd name="T18" fmla="*/ 425 w 432"/>
                  <a:gd name="T19" fmla="*/ 375 h 610"/>
                  <a:gd name="T20" fmla="*/ 428 w 432"/>
                  <a:gd name="T21" fmla="*/ 355 h 610"/>
                  <a:gd name="T22" fmla="*/ 432 w 432"/>
                  <a:gd name="T23" fmla="*/ 287 h 610"/>
                  <a:gd name="T24" fmla="*/ 429 w 432"/>
                  <a:gd name="T25" fmla="*/ 208 h 610"/>
                  <a:gd name="T26" fmla="*/ 422 w 432"/>
                  <a:gd name="T27" fmla="*/ 168 h 610"/>
                  <a:gd name="T28" fmla="*/ 413 w 432"/>
                  <a:gd name="T29" fmla="*/ 132 h 610"/>
                  <a:gd name="T30" fmla="*/ 397 w 432"/>
                  <a:gd name="T31" fmla="*/ 99 h 610"/>
                  <a:gd name="T32" fmla="*/ 378 w 432"/>
                  <a:gd name="T33" fmla="*/ 73 h 610"/>
                  <a:gd name="T34" fmla="*/ 364 w 432"/>
                  <a:gd name="T35" fmla="*/ 59 h 610"/>
                  <a:gd name="T36" fmla="*/ 337 w 432"/>
                  <a:gd name="T37" fmla="*/ 38 h 610"/>
                  <a:gd name="T38" fmla="*/ 309 w 432"/>
                  <a:gd name="T39" fmla="*/ 23 h 610"/>
                  <a:gd name="T40" fmla="*/ 270 w 432"/>
                  <a:gd name="T41" fmla="*/ 9 h 610"/>
                  <a:gd name="T42" fmla="*/ 231 w 432"/>
                  <a:gd name="T43" fmla="*/ 2 h 610"/>
                  <a:gd name="T44" fmla="*/ 216 w 432"/>
                  <a:gd name="T45" fmla="*/ 0 h 610"/>
                  <a:gd name="T46" fmla="*/ 184 w 432"/>
                  <a:gd name="T47" fmla="*/ 5 h 610"/>
                  <a:gd name="T48" fmla="*/ 137 w 432"/>
                  <a:gd name="T49" fmla="*/ 17 h 610"/>
                  <a:gd name="T50" fmla="*/ 109 w 432"/>
                  <a:gd name="T51" fmla="*/ 30 h 610"/>
                  <a:gd name="T52" fmla="*/ 82 w 432"/>
                  <a:gd name="T53" fmla="*/ 48 h 610"/>
                  <a:gd name="T54" fmla="*/ 55 w 432"/>
                  <a:gd name="T55" fmla="*/ 73 h 610"/>
                  <a:gd name="T56" fmla="*/ 44 w 432"/>
                  <a:gd name="T57" fmla="*/ 85 h 610"/>
                  <a:gd name="T58" fmla="*/ 27 w 432"/>
                  <a:gd name="T59" fmla="*/ 116 h 610"/>
                  <a:gd name="T60" fmla="*/ 15 w 432"/>
                  <a:gd name="T61" fmla="*/ 150 h 610"/>
                  <a:gd name="T62" fmla="*/ 7 w 432"/>
                  <a:gd name="T63" fmla="*/ 188 h 610"/>
                  <a:gd name="T64" fmla="*/ 1 w 432"/>
                  <a:gd name="T65" fmla="*/ 247 h 610"/>
                  <a:gd name="T66" fmla="*/ 1 w 432"/>
                  <a:gd name="T67" fmla="*/ 323 h 610"/>
                  <a:gd name="T68" fmla="*/ 5 w 432"/>
                  <a:gd name="T69" fmla="*/ 355 h 610"/>
                  <a:gd name="T70" fmla="*/ 12 w 432"/>
                  <a:gd name="T71" fmla="*/ 394 h 610"/>
                  <a:gd name="T72" fmla="*/ 25 w 432"/>
                  <a:gd name="T73" fmla="*/ 430 h 610"/>
                  <a:gd name="T74" fmla="*/ 40 w 432"/>
                  <a:gd name="T75" fmla="*/ 463 h 610"/>
                  <a:gd name="T76" fmla="*/ 76 w 432"/>
                  <a:gd name="T77" fmla="*/ 522 h 610"/>
                  <a:gd name="T78" fmla="*/ 112 w 432"/>
                  <a:gd name="T79" fmla="*/ 562 h 610"/>
                  <a:gd name="T80" fmla="*/ 127 w 432"/>
                  <a:gd name="T81" fmla="*/ 576 h 610"/>
                  <a:gd name="T82" fmla="*/ 159 w 432"/>
                  <a:gd name="T83" fmla="*/ 596 h 610"/>
                  <a:gd name="T84" fmla="*/ 188 w 432"/>
                  <a:gd name="T85" fmla="*/ 606 h 610"/>
                  <a:gd name="T86" fmla="*/ 208 w 432"/>
                  <a:gd name="T87" fmla="*/ 610 h 610"/>
                  <a:gd name="T88" fmla="*/ 215 w 432"/>
                  <a:gd name="T89" fmla="*/ 610 h 6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432" h="610">
                    <a:moveTo>
                      <a:pt x="215" y="610"/>
                    </a:moveTo>
                    <a:lnTo>
                      <a:pt x="215" y="610"/>
                    </a:lnTo>
                    <a:lnTo>
                      <a:pt x="223" y="610"/>
                    </a:lnTo>
                    <a:lnTo>
                      <a:pt x="233" y="609"/>
                    </a:lnTo>
                    <a:lnTo>
                      <a:pt x="244" y="606"/>
                    </a:lnTo>
                    <a:lnTo>
                      <a:pt x="258" y="602"/>
                    </a:lnTo>
                    <a:lnTo>
                      <a:pt x="273" y="596"/>
                    </a:lnTo>
                    <a:lnTo>
                      <a:pt x="289" y="587"/>
                    </a:lnTo>
                    <a:lnTo>
                      <a:pt x="306" y="576"/>
                    </a:lnTo>
                    <a:lnTo>
                      <a:pt x="306" y="576"/>
                    </a:lnTo>
                    <a:lnTo>
                      <a:pt x="321" y="562"/>
                    </a:lnTo>
                    <a:lnTo>
                      <a:pt x="339" y="544"/>
                    </a:lnTo>
                    <a:lnTo>
                      <a:pt x="357" y="522"/>
                    </a:lnTo>
                    <a:lnTo>
                      <a:pt x="375" y="494"/>
                    </a:lnTo>
                    <a:lnTo>
                      <a:pt x="393" y="463"/>
                    </a:lnTo>
                    <a:lnTo>
                      <a:pt x="402" y="448"/>
                    </a:lnTo>
                    <a:lnTo>
                      <a:pt x="409" y="430"/>
                    </a:lnTo>
                    <a:lnTo>
                      <a:pt x="415" y="412"/>
                    </a:lnTo>
                    <a:lnTo>
                      <a:pt x="421" y="394"/>
                    </a:lnTo>
                    <a:lnTo>
                      <a:pt x="425" y="375"/>
                    </a:lnTo>
                    <a:lnTo>
                      <a:pt x="428" y="355"/>
                    </a:lnTo>
                    <a:lnTo>
                      <a:pt x="428" y="355"/>
                    </a:lnTo>
                    <a:lnTo>
                      <a:pt x="431" y="323"/>
                    </a:lnTo>
                    <a:lnTo>
                      <a:pt x="432" y="287"/>
                    </a:lnTo>
                    <a:lnTo>
                      <a:pt x="432" y="247"/>
                    </a:lnTo>
                    <a:lnTo>
                      <a:pt x="429" y="208"/>
                    </a:lnTo>
                    <a:lnTo>
                      <a:pt x="427" y="188"/>
                    </a:lnTo>
                    <a:lnTo>
                      <a:pt x="422" y="168"/>
                    </a:lnTo>
                    <a:lnTo>
                      <a:pt x="418" y="150"/>
                    </a:lnTo>
                    <a:lnTo>
                      <a:pt x="413" y="132"/>
                    </a:lnTo>
                    <a:lnTo>
                      <a:pt x="406" y="116"/>
                    </a:lnTo>
                    <a:lnTo>
                      <a:pt x="397" y="99"/>
                    </a:lnTo>
                    <a:lnTo>
                      <a:pt x="389" y="85"/>
                    </a:lnTo>
                    <a:lnTo>
                      <a:pt x="378" y="73"/>
                    </a:lnTo>
                    <a:lnTo>
                      <a:pt x="378" y="73"/>
                    </a:lnTo>
                    <a:lnTo>
                      <a:pt x="364" y="59"/>
                    </a:lnTo>
                    <a:lnTo>
                      <a:pt x="350" y="48"/>
                    </a:lnTo>
                    <a:lnTo>
                      <a:pt x="337" y="38"/>
                    </a:lnTo>
                    <a:lnTo>
                      <a:pt x="323" y="30"/>
                    </a:lnTo>
                    <a:lnTo>
                      <a:pt x="309" y="23"/>
                    </a:lnTo>
                    <a:lnTo>
                      <a:pt x="296" y="17"/>
                    </a:lnTo>
                    <a:lnTo>
                      <a:pt x="270" y="9"/>
                    </a:lnTo>
                    <a:lnTo>
                      <a:pt x="249" y="5"/>
                    </a:lnTo>
                    <a:lnTo>
                      <a:pt x="231" y="2"/>
                    </a:lnTo>
                    <a:lnTo>
                      <a:pt x="216" y="0"/>
                    </a:lnTo>
                    <a:lnTo>
                      <a:pt x="216" y="0"/>
                    </a:lnTo>
                    <a:lnTo>
                      <a:pt x="201" y="2"/>
                    </a:lnTo>
                    <a:lnTo>
                      <a:pt x="184" y="5"/>
                    </a:lnTo>
                    <a:lnTo>
                      <a:pt x="162" y="9"/>
                    </a:lnTo>
                    <a:lnTo>
                      <a:pt x="137" y="17"/>
                    </a:lnTo>
                    <a:lnTo>
                      <a:pt x="123" y="23"/>
                    </a:lnTo>
                    <a:lnTo>
                      <a:pt x="109" y="30"/>
                    </a:lnTo>
                    <a:lnTo>
                      <a:pt x="95" y="38"/>
                    </a:lnTo>
                    <a:lnTo>
                      <a:pt x="82" y="48"/>
                    </a:lnTo>
                    <a:lnTo>
                      <a:pt x="68" y="59"/>
                    </a:lnTo>
                    <a:lnTo>
                      <a:pt x="55" y="73"/>
                    </a:lnTo>
                    <a:lnTo>
                      <a:pt x="55" y="73"/>
                    </a:lnTo>
                    <a:lnTo>
                      <a:pt x="44" y="85"/>
                    </a:lnTo>
                    <a:lnTo>
                      <a:pt x="36" y="99"/>
                    </a:lnTo>
                    <a:lnTo>
                      <a:pt x="27" y="116"/>
                    </a:lnTo>
                    <a:lnTo>
                      <a:pt x="21" y="132"/>
                    </a:lnTo>
                    <a:lnTo>
                      <a:pt x="15" y="150"/>
                    </a:lnTo>
                    <a:lnTo>
                      <a:pt x="11" y="168"/>
                    </a:lnTo>
                    <a:lnTo>
                      <a:pt x="7" y="188"/>
                    </a:lnTo>
                    <a:lnTo>
                      <a:pt x="4" y="208"/>
                    </a:lnTo>
                    <a:lnTo>
                      <a:pt x="1" y="247"/>
                    </a:lnTo>
                    <a:lnTo>
                      <a:pt x="0" y="287"/>
                    </a:lnTo>
                    <a:lnTo>
                      <a:pt x="1" y="323"/>
                    </a:lnTo>
                    <a:lnTo>
                      <a:pt x="5" y="355"/>
                    </a:lnTo>
                    <a:lnTo>
                      <a:pt x="5" y="355"/>
                    </a:lnTo>
                    <a:lnTo>
                      <a:pt x="8" y="375"/>
                    </a:lnTo>
                    <a:lnTo>
                      <a:pt x="12" y="394"/>
                    </a:lnTo>
                    <a:lnTo>
                      <a:pt x="18" y="412"/>
                    </a:lnTo>
                    <a:lnTo>
                      <a:pt x="25" y="430"/>
                    </a:lnTo>
                    <a:lnTo>
                      <a:pt x="32" y="448"/>
                    </a:lnTo>
                    <a:lnTo>
                      <a:pt x="40" y="463"/>
                    </a:lnTo>
                    <a:lnTo>
                      <a:pt x="57" y="494"/>
                    </a:lnTo>
                    <a:lnTo>
                      <a:pt x="76" y="522"/>
                    </a:lnTo>
                    <a:lnTo>
                      <a:pt x="94" y="544"/>
                    </a:lnTo>
                    <a:lnTo>
                      <a:pt x="112" y="562"/>
                    </a:lnTo>
                    <a:lnTo>
                      <a:pt x="127" y="576"/>
                    </a:lnTo>
                    <a:lnTo>
                      <a:pt x="127" y="576"/>
                    </a:lnTo>
                    <a:lnTo>
                      <a:pt x="144" y="587"/>
                    </a:lnTo>
                    <a:lnTo>
                      <a:pt x="159" y="596"/>
                    </a:lnTo>
                    <a:lnTo>
                      <a:pt x="174" y="602"/>
                    </a:lnTo>
                    <a:lnTo>
                      <a:pt x="188" y="606"/>
                    </a:lnTo>
                    <a:lnTo>
                      <a:pt x="199" y="609"/>
                    </a:lnTo>
                    <a:lnTo>
                      <a:pt x="208" y="610"/>
                    </a:lnTo>
                    <a:lnTo>
                      <a:pt x="215" y="610"/>
                    </a:lnTo>
                    <a:lnTo>
                      <a:pt x="215" y="6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US" sz="1600">
                  <a:latin typeface="汉仪正圆-55W" panose="00020600040101010101" pitchFamily="18" charset="-122"/>
                  <a:ea typeface="汉仪正圆-55W" panose="00020600040101010101" pitchFamily="18" charset="-122"/>
                  <a:cs typeface="Arial" panose="020B0604020202020204" pitchFamily="34" charset="0"/>
                  <a:sym typeface="汉仪正圆-55W" panose="00020600040101010101" pitchFamily="18" charset="-122"/>
                </a:endParaRPr>
              </a:p>
            </p:txBody>
          </p:sp>
        </p:grpSp>
        <p:sp>
          <p:nvSpPr>
            <p:cNvPr id="58" name="深度视觉·原创设计 https://www.docer.com/works?userid=22383862"/>
            <p:cNvSpPr/>
            <p:nvPr/>
          </p:nvSpPr>
          <p:spPr>
            <a:xfrm>
              <a:off x="3528057" y="4113792"/>
              <a:ext cx="1540714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spcBef>
                  <a:spcPts val="600"/>
                </a:spcBef>
                <a:buClr>
                  <a:srgbClr val="E24848"/>
                </a:buClr>
              </a:pPr>
              <a:r>
                <a:rPr lang="en-US" sz="1200" b="1" dirty="0">
                  <a:solidFill>
                    <a:schemeClr val="bg1"/>
                  </a:solidFill>
                  <a:latin typeface="汉仪正圆-55W" panose="00020600040101010101" pitchFamily="18" charset="-122"/>
                  <a:ea typeface="汉仪正圆-55W" panose="00020600040101010101" pitchFamily="18" charset="-122"/>
                  <a:cs typeface="Open Sans Light" pitchFamily="34" charset="0"/>
                  <a:sym typeface="汉仪正圆-55W" panose="00020600040101010101" pitchFamily="18" charset="-122"/>
                </a:rPr>
                <a:t>ANALYSIS 1</a:t>
              </a:r>
              <a:endParaRPr lang="en-US" sz="1200" b="1" dirty="0">
                <a:solidFill>
                  <a:schemeClr val="bg1"/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cs typeface="Open Sans Light" pitchFamily="34" charset="0"/>
                <a:sym typeface="汉仪正圆-55W" panose="00020600040101010101" pitchFamily="18" charset="-122"/>
              </a:endParaRPr>
            </a:p>
          </p:txBody>
        </p:sp>
      </p:grpSp>
      <p:sp>
        <p:nvSpPr>
          <p:cNvPr id="61" name="深度视觉·原创设计 https://www.docer.com/works?userid=22383862"/>
          <p:cNvSpPr/>
          <p:nvPr/>
        </p:nvSpPr>
        <p:spPr>
          <a:xfrm rot="20038587">
            <a:off x="7427295" y="2534193"/>
            <a:ext cx="1114136" cy="1114136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bg1">
                <a:lumMod val="8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600">
              <a:solidFill>
                <a:prstClr val="white"/>
              </a:solidFill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62" name="深度视觉·原创设计 https://www.docer.com/works?userid=22383862"/>
          <p:cNvSpPr/>
          <p:nvPr/>
        </p:nvSpPr>
        <p:spPr>
          <a:xfrm>
            <a:off x="7469390" y="2849475"/>
            <a:ext cx="105830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  <a:buClr>
                <a:srgbClr val="E24848"/>
              </a:buClr>
              <a:defRPr/>
            </a:pPr>
            <a:r>
              <a:rPr lang="en-US" sz="24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cs typeface="Open Sans Light" pitchFamily="34" charset="0"/>
                <a:sym typeface="汉仪正圆-55W" panose="00020600040101010101" pitchFamily="18" charset="-122"/>
              </a:rPr>
              <a:t>35%</a:t>
            </a:r>
            <a:endParaRPr lang="en-US" sz="2400" b="1" noProof="1">
              <a:solidFill>
                <a:schemeClr val="tx1">
                  <a:lumMod val="75000"/>
                  <a:lumOff val="25000"/>
                </a:schemeClr>
              </a:solidFill>
              <a:latin typeface="汉仪正圆-55W" panose="00020600040101010101" pitchFamily="18" charset="-122"/>
              <a:ea typeface="汉仪正圆-55W" panose="00020600040101010101" pitchFamily="18" charset="-122"/>
              <a:cs typeface="Open Sans Light" pitchFamily="34" charset="0"/>
              <a:sym typeface="汉仪正圆-55W" panose="00020600040101010101" pitchFamily="18" charset="-122"/>
            </a:endParaRPr>
          </a:p>
        </p:txBody>
      </p:sp>
      <p:sp>
        <p:nvSpPr>
          <p:cNvPr id="63" name="深度视觉·原创设计 https://www.docer.com/works?userid=22383862"/>
          <p:cNvSpPr/>
          <p:nvPr/>
        </p:nvSpPr>
        <p:spPr>
          <a:xfrm>
            <a:off x="7651271" y="2233857"/>
            <a:ext cx="469351" cy="469351"/>
          </a:xfrm>
          <a:prstGeom prst="ellipse">
            <a:avLst/>
          </a:prstGeom>
          <a:solidFill>
            <a:schemeClr val="tx1">
              <a:lumMod val="85000"/>
              <a:lumOff val="15000"/>
              <a:alpha val="55000"/>
            </a:schemeClr>
          </a:solidFill>
          <a:ln>
            <a:noFill/>
            <a:prstDash val="dash"/>
          </a:ln>
          <a:effectLst>
            <a:outerShdw blurRad="50800" dist="38100" dir="5400000" algn="t" rotWithShape="0">
              <a:prstClr val="black">
                <a:alpha val="11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64" name="深度视觉·原创设计 https://www.docer.com/works?userid=22383862"/>
          <p:cNvSpPr/>
          <p:nvPr/>
        </p:nvSpPr>
        <p:spPr bwMode="auto">
          <a:xfrm>
            <a:off x="7766402" y="2360177"/>
            <a:ext cx="257662" cy="209260"/>
          </a:xfrm>
          <a:custGeom>
            <a:avLst/>
            <a:gdLst>
              <a:gd name="T0" fmla="*/ 153 w 153"/>
              <a:gd name="T1" fmla="*/ 14 h 124"/>
              <a:gd name="T2" fmla="*/ 135 w 153"/>
              <a:gd name="T3" fmla="*/ 19 h 124"/>
              <a:gd name="T4" fmla="*/ 149 w 153"/>
              <a:gd name="T5" fmla="*/ 2 h 124"/>
              <a:gd name="T6" fmla="*/ 129 w 153"/>
              <a:gd name="T7" fmla="*/ 9 h 124"/>
              <a:gd name="T8" fmla="*/ 106 w 153"/>
              <a:gd name="T9" fmla="*/ 0 h 124"/>
              <a:gd name="T10" fmla="*/ 75 w 153"/>
              <a:gd name="T11" fmla="*/ 31 h 124"/>
              <a:gd name="T12" fmla="*/ 76 w 153"/>
              <a:gd name="T13" fmla="*/ 38 h 124"/>
              <a:gd name="T14" fmla="*/ 11 w 153"/>
              <a:gd name="T15" fmla="*/ 5 h 124"/>
              <a:gd name="T16" fmla="*/ 7 w 153"/>
              <a:gd name="T17" fmla="*/ 21 h 124"/>
              <a:gd name="T18" fmla="*/ 21 w 153"/>
              <a:gd name="T19" fmla="*/ 47 h 124"/>
              <a:gd name="T20" fmla="*/ 6 w 153"/>
              <a:gd name="T21" fmla="*/ 43 h 124"/>
              <a:gd name="T22" fmla="*/ 6 w 153"/>
              <a:gd name="T23" fmla="*/ 44 h 124"/>
              <a:gd name="T24" fmla="*/ 32 w 153"/>
              <a:gd name="T25" fmla="*/ 74 h 124"/>
              <a:gd name="T26" fmla="*/ 23 w 153"/>
              <a:gd name="T27" fmla="*/ 76 h 124"/>
              <a:gd name="T28" fmla="*/ 17 w 153"/>
              <a:gd name="T29" fmla="*/ 75 h 124"/>
              <a:gd name="T30" fmla="*/ 47 w 153"/>
              <a:gd name="T31" fmla="*/ 97 h 124"/>
              <a:gd name="T32" fmla="*/ 8 w 153"/>
              <a:gd name="T33" fmla="*/ 110 h 124"/>
              <a:gd name="T34" fmla="*/ 0 w 153"/>
              <a:gd name="T35" fmla="*/ 110 h 124"/>
              <a:gd name="T36" fmla="*/ 48 w 153"/>
              <a:gd name="T37" fmla="*/ 124 h 124"/>
              <a:gd name="T38" fmla="*/ 138 w 153"/>
              <a:gd name="T39" fmla="*/ 35 h 124"/>
              <a:gd name="T40" fmla="*/ 138 w 153"/>
              <a:gd name="T41" fmla="*/ 31 h 124"/>
              <a:gd name="T42" fmla="*/ 153 w 153"/>
              <a:gd name="T43" fmla="*/ 14 h 1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153" h="124">
                <a:moveTo>
                  <a:pt x="153" y="14"/>
                </a:moveTo>
                <a:cubicBezTo>
                  <a:pt x="148" y="17"/>
                  <a:pt x="142" y="18"/>
                  <a:pt x="135" y="19"/>
                </a:cubicBezTo>
                <a:cubicBezTo>
                  <a:pt x="142" y="15"/>
                  <a:pt x="147" y="9"/>
                  <a:pt x="149" y="2"/>
                </a:cubicBezTo>
                <a:cubicBezTo>
                  <a:pt x="143" y="5"/>
                  <a:pt x="136" y="8"/>
                  <a:pt x="129" y="9"/>
                </a:cubicBezTo>
                <a:cubicBezTo>
                  <a:pt x="124" y="3"/>
                  <a:pt x="115" y="0"/>
                  <a:pt x="106" y="0"/>
                </a:cubicBezTo>
                <a:cubicBezTo>
                  <a:pt x="89" y="0"/>
                  <a:pt x="75" y="14"/>
                  <a:pt x="75" y="31"/>
                </a:cubicBezTo>
                <a:cubicBezTo>
                  <a:pt x="75" y="33"/>
                  <a:pt x="75" y="36"/>
                  <a:pt x="76" y="38"/>
                </a:cubicBezTo>
                <a:cubicBezTo>
                  <a:pt x="50" y="37"/>
                  <a:pt x="26" y="24"/>
                  <a:pt x="11" y="5"/>
                </a:cubicBezTo>
                <a:cubicBezTo>
                  <a:pt x="8" y="10"/>
                  <a:pt x="7" y="15"/>
                  <a:pt x="7" y="21"/>
                </a:cubicBezTo>
                <a:cubicBezTo>
                  <a:pt x="7" y="32"/>
                  <a:pt x="12" y="42"/>
                  <a:pt x="21" y="47"/>
                </a:cubicBezTo>
                <a:cubicBezTo>
                  <a:pt x="16" y="47"/>
                  <a:pt x="11" y="46"/>
                  <a:pt x="6" y="43"/>
                </a:cubicBezTo>
                <a:cubicBezTo>
                  <a:pt x="6" y="43"/>
                  <a:pt x="6" y="44"/>
                  <a:pt x="6" y="44"/>
                </a:cubicBezTo>
                <a:cubicBezTo>
                  <a:pt x="6" y="59"/>
                  <a:pt x="17" y="72"/>
                  <a:pt x="32" y="74"/>
                </a:cubicBezTo>
                <a:cubicBezTo>
                  <a:pt x="29" y="75"/>
                  <a:pt x="26" y="76"/>
                  <a:pt x="23" y="76"/>
                </a:cubicBezTo>
                <a:cubicBezTo>
                  <a:pt x="21" y="76"/>
                  <a:pt x="19" y="75"/>
                  <a:pt x="17" y="75"/>
                </a:cubicBezTo>
                <a:cubicBezTo>
                  <a:pt x="21" y="87"/>
                  <a:pt x="33" y="97"/>
                  <a:pt x="47" y="97"/>
                </a:cubicBezTo>
                <a:cubicBezTo>
                  <a:pt x="36" y="105"/>
                  <a:pt x="23" y="110"/>
                  <a:pt x="8" y="110"/>
                </a:cubicBezTo>
                <a:cubicBezTo>
                  <a:pt x="5" y="110"/>
                  <a:pt x="3" y="110"/>
                  <a:pt x="0" y="110"/>
                </a:cubicBezTo>
                <a:cubicBezTo>
                  <a:pt x="14" y="119"/>
                  <a:pt x="31" y="124"/>
                  <a:pt x="48" y="124"/>
                </a:cubicBezTo>
                <a:cubicBezTo>
                  <a:pt x="106" y="124"/>
                  <a:pt x="138" y="76"/>
                  <a:pt x="138" y="35"/>
                </a:cubicBezTo>
                <a:cubicBezTo>
                  <a:pt x="138" y="33"/>
                  <a:pt x="138" y="32"/>
                  <a:pt x="138" y="31"/>
                </a:cubicBezTo>
                <a:cubicBezTo>
                  <a:pt x="144" y="26"/>
                  <a:pt x="149" y="21"/>
                  <a:pt x="153" y="1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/>
          <a:lstStyle/>
          <a:p>
            <a:endParaRPr lang="id-ID" sz="160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65" name="深度视觉·原创设计 https://www.docer.com/works?userid=22383862"/>
          <p:cNvSpPr/>
          <p:nvPr/>
        </p:nvSpPr>
        <p:spPr>
          <a:xfrm rot="20038587">
            <a:off x="3812032" y="1802642"/>
            <a:ext cx="1114136" cy="1114136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bg1">
                <a:lumMod val="8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600">
              <a:solidFill>
                <a:prstClr val="white"/>
              </a:solidFill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66" name="深度视觉·原创设计 https://www.docer.com/works?userid=22383862"/>
          <p:cNvSpPr/>
          <p:nvPr/>
        </p:nvSpPr>
        <p:spPr>
          <a:xfrm>
            <a:off x="3848191" y="2112059"/>
            <a:ext cx="105830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  <a:buClr>
                <a:srgbClr val="E24848"/>
              </a:buClr>
              <a:defRPr/>
            </a:pPr>
            <a:r>
              <a:rPr lang="en-US" sz="24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cs typeface="Open Sans Light" pitchFamily="34" charset="0"/>
                <a:sym typeface="汉仪正圆-55W" panose="00020600040101010101" pitchFamily="18" charset="-122"/>
              </a:rPr>
              <a:t>45%</a:t>
            </a:r>
            <a:endParaRPr lang="en-US" sz="2400" b="1" noProof="1">
              <a:solidFill>
                <a:schemeClr val="tx1">
                  <a:lumMod val="75000"/>
                  <a:lumOff val="25000"/>
                </a:schemeClr>
              </a:solidFill>
              <a:latin typeface="汉仪正圆-55W" panose="00020600040101010101" pitchFamily="18" charset="-122"/>
              <a:ea typeface="汉仪正圆-55W" panose="00020600040101010101" pitchFamily="18" charset="-122"/>
              <a:cs typeface="Open Sans Light" pitchFamily="34" charset="0"/>
              <a:sym typeface="汉仪正圆-55W" panose="00020600040101010101" pitchFamily="18" charset="-122"/>
            </a:endParaRPr>
          </a:p>
        </p:txBody>
      </p:sp>
      <p:sp>
        <p:nvSpPr>
          <p:cNvPr id="67" name="深度视觉·原创设计 https://www.docer.com/works?userid=22383862"/>
          <p:cNvSpPr/>
          <p:nvPr/>
        </p:nvSpPr>
        <p:spPr>
          <a:xfrm>
            <a:off x="3954507" y="1560901"/>
            <a:ext cx="469351" cy="469351"/>
          </a:xfrm>
          <a:prstGeom prst="ellipse">
            <a:avLst/>
          </a:prstGeom>
          <a:solidFill>
            <a:schemeClr val="tx1">
              <a:lumMod val="85000"/>
              <a:lumOff val="15000"/>
              <a:alpha val="55000"/>
            </a:schemeClr>
          </a:solidFill>
          <a:ln>
            <a:noFill/>
            <a:prstDash val="dash"/>
          </a:ln>
          <a:effectLst>
            <a:outerShdw blurRad="50800" dist="38100" dir="5400000" algn="t" rotWithShape="0">
              <a:prstClr val="black">
                <a:alpha val="11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68" name="深度视觉·原创设计 https://www.docer.com/works?userid=22383862"/>
          <p:cNvSpPr/>
          <p:nvPr/>
        </p:nvSpPr>
        <p:spPr bwMode="auto">
          <a:xfrm>
            <a:off x="4123598" y="1658752"/>
            <a:ext cx="131168" cy="285224"/>
          </a:xfrm>
          <a:custGeom>
            <a:avLst/>
            <a:gdLst>
              <a:gd name="T0" fmla="*/ 63 w 63"/>
              <a:gd name="T1" fmla="*/ 44 h 137"/>
              <a:gd name="T2" fmla="*/ 42 w 63"/>
              <a:gd name="T3" fmla="*/ 44 h 137"/>
              <a:gd name="T4" fmla="*/ 42 w 63"/>
              <a:gd name="T5" fmla="*/ 30 h 137"/>
              <a:gd name="T6" fmla="*/ 48 w 63"/>
              <a:gd name="T7" fmla="*/ 24 h 137"/>
              <a:gd name="T8" fmla="*/ 63 w 63"/>
              <a:gd name="T9" fmla="*/ 24 h 137"/>
              <a:gd name="T10" fmla="*/ 63 w 63"/>
              <a:gd name="T11" fmla="*/ 0 h 137"/>
              <a:gd name="T12" fmla="*/ 42 w 63"/>
              <a:gd name="T13" fmla="*/ 0 h 137"/>
              <a:gd name="T14" fmla="*/ 13 w 63"/>
              <a:gd name="T15" fmla="*/ 29 h 137"/>
              <a:gd name="T16" fmla="*/ 13 w 63"/>
              <a:gd name="T17" fmla="*/ 44 h 137"/>
              <a:gd name="T18" fmla="*/ 0 w 63"/>
              <a:gd name="T19" fmla="*/ 44 h 137"/>
              <a:gd name="T20" fmla="*/ 0 w 63"/>
              <a:gd name="T21" fmla="*/ 68 h 137"/>
              <a:gd name="T22" fmla="*/ 13 w 63"/>
              <a:gd name="T23" fmla="*/ 68 h 137"/>
              <a:gd name="T24" fmla="*/ 13 w 63"/>
              <a:gd name="T25" fmla="*/ 137 h 137"/>
              <a:gd name="T26" fmla="*/ 42 w 63"/>
              <a:gd name="T27" fmla="*/ 137 h 137"/>
              <a:gd name="T28" fmla="*/ 42 w 63"/>
              <a:gd name="T29" fmla="*/ 68 h 137"/>
              <a:gd name="T30" fmla="*/ 61 w 63"/>
              <a:gd name="T31" fmla="*/ 68 h 137"/>
              <a:gd name="T32" fmla="*/ 63 w 63"/>
              <a:gd name="T33" fmla="*/ 44 h 1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63" h="137">
                <a:moveTo>
                  <a:pt x="63" y="44"/>
                </a:moveTo>
                <a:cubicBezTo>
                  <a:pt x="42" y="44"/>
                  <a:pt x="42" y="44"/>
                  <a:pt x="42" y="44"/>
                </a:cubicBezTo>
                <a:cubicBezTo>
                  <a:pt x="42" y="30"/>
                  <a:pt x="42" y="30"/>
                  <a:pt x="42" y="30"/>
                </a:cubicBezTo>
                <a:cubicBezTo>
                  <a:pt x="42" y="25"/>
                  <a:pt x="45" y="24"/>
                  <a:pt x="48" y="24"/>
                </a:cubicBezTo>
                <a:cubicBezTo>
                  <a:pt x="50" y="24"/>
                  <a:pt x="63" y="24"/>
                  <a:pt x="63" y="24"/>
                </a:cubicBezTo>
                <a:cubicBezTo>
                  <a:pt x="63" y="0"/>
                  <a:pt x="63" y="0"/>
                  <a:pt x="63" y="0"/>
                </a:cubicBezTo>
                <a:cubicBezTo>
                  <a:pt x="42" y="0"/>
                  <a:pt x="42" y="0"/>
                  <a:pt x="42" y="0"/>
                </a:cubicBezTo>
                <a:cubicBezTo>
                  <a:pt x="19" y="0"/>
                  <a:pt x="13" y="18"/>
                  <a:pt x="13" y="29"/>
                </a:cubicBezTo>
                <a:cubicBezTo>
                  <a:pt x="13" y="44"/>
                  <a:pt x="13" y="44"/>
                  <a:pt x="13" y="44"/>
                </a:cubicBezTo>
                <a:cubicBezTo>
                  <a:pt x="0" y="44"/>
                  <a:pt x="0" y="44"/>
                  <a:pt x="0" y="44"/>
                </a:cubicBezTo>
                <a:cubicBezTo>
                  <a:pt x="0" y="68"/>
                  <a:pt x="0" y="68"/>
                  <a:pt x="0" y="68"/>
                </a:cubicBezTo>
                <a:cubicBezTo>
                  <a:pt x="13" y="68"/>
                  <a:pt x="13" y="68"/>
                  <a:pt x="13" y="68"/>
                </a:cubicBezTo>
                <a:cubicBezTo>
                  <a:pt x="13" y="99"/>
                  <a:pt x="13" y="137"/>
                  <a:pt x="13" y="137"/>
                </a:cubicBezTo>
                <a:cubicBezTo>
                  <a:pt x="42" y="137"/>
                  <a:pt x="42" y="137"/>
                  <a:pt x="42" y="137"/>
                </a:cubicBezTo>
                <a:cubicBezTo>
                  <a:pt x="42" y="137"/>
                  <a:pt x="42" y="99"/>
                  <a:pt x="42" y="68"/>
                </a:cubicBezTo>
                <a:cubicBezTo>
                  <a:pt x="61" y="68"/>
                  <a:pt x="61" y="68"/>
                  <a:pt x="61" y="68"/>
                </a:cubicBezTo>
                <a:lnTo>
                  <a:pt x="63" y="4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/>
          <a:lstStyle/>
          <a:p>
            <a:endParaRPr lang="id-ID" sz="16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69" name="深度视觉·原创设计 https://www.docer.com/works?userid=22383862"/>
          <p:cNvSpPr/>
          <p:nvPr/>
        </p:nvSpPr>
        <p:spPr>
          <a:xfrm rot="6907592">
            <a:off x="4417714" y="4642253"/>
            <a:ext cx="1005897" cy="1007341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bg1">
                <a:lumMod val="8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600">
              <a:solidFill>
                <a:prstClr val="white"/>
              </a:solidFill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70" name="深度视觉·原创设计 https://www.docer.com/works?userid=22383862"/>
          <p:cNvSpPr/>
          <p:nvPr/>
        </p:nvSpPr>
        <p:spPr>
          <a:xfrm>
            <a:off x="4391509" y="4912332"/>
            <a:ext cx="105830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  <a:buClr>
                <a:srgbClr val="E24848"/>
              </a:buClr>
              <a:defRPr/>
            </a:pPr>
            <a:r>
              <a:rPr lang="en-US" sz="24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cs typeface="Open Sans Light" pitchFamily="34" charset="0"/>
                <a:sym typeface="汉仪正圆-55W" panose="00020600040101010101" pitchFamily="18" charset="-122"/>
              </a:rPr>
              <a:t>15%</a:t>
            </a:r>
            <a:endParaRPr lang="en-US" sz="2400" b="1" noProof="1">
              <a:solidFill>
                <a:schemeClr val="tx1">
                  <a:lumMod val="75000"/>
                  <a:lumOff val="25000"/>
                </a:schemeClr>
              </a:solidFill>
              <a:latin typeface="汉仪正圆-55W" panose="00020600040101010101" pitchFamily="18" charset="-122"/>
              <a:ea typeface="汉仪正圆-55W" panose="00020600040101010101" pitchFamily="18" charset="-122"/>
              <a:cs typeface="Open Sans Light" pitchFamily="34" charset="0"/>
              <a:sym typeface="汉仪正圆-55W" panose="00020600040101010101" pitchFamily="18" charset="-122"/>
            </a:endParaRPr>
          </a:p>
        </p:txBody>
      </p:sp>
      <p:sp>
        <p:nvSpPr>
          <p:cNvPr id="71" name="深度视觉·原创设计 https://www.docer.com/works?userid=22383862"/>
          <p:cNvSpPr/>
          <p:nvPr/>
        </p:nvSpPr>
        <p:spPr>
          <a:xfrm>
            <a:off x="4759753" y="5452720"/>
            <a:ext cx="469351" cy="469351"/>
          </a:xfrm>
          <a:prstGeom prst="ellipse">
            <a:avLst/>
          </a:prstGeom>
          <a:solidFill>
            <a:schemeClr val="tx1">
              <a:lumMod val="85000"/>
              <a:lumOff val="15000"/>
              <a:alpha val="55000"/>
            </a:schemeClr>
          </a:solidFill>
          <a:ln>
            <a:noFill/>
            <a:prstDash val="dash"/>
          </a:ln>
          <a:effectLst>
            <a:outerShdw blurRad="50800" dist="38100" dir="5400000" algn="t" rotWithShape="0">
              <a:prstClr val="black">
                <a:alpha val="11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grpSp>
        <p:nvGrpSpPr>
          <p:cNvPr id="72" name="深度视觉·原创设计 https://www.docer.com/works?userid=22383862"/>
          <p:cNvGrpSpPr/>
          <p:nvPr/>
        </p:nvGrpSpPr>
        <p:grpSpPr>
          <a:xfrm>
            <a:off x="4854354" y="5542459"/>
            <a:ext cx="280148" cy="273566"/>
            <a:chOff x="8402638" y="2208213"/>
            <a:chExt cx="473075" cy="461962"/>
          </a:xfrm>
          <a:solidFill>
            <a:schemeClr val="bg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73" name="深度视觉·原创设计 https://www.docer.com/works?userid=22383862"/>
            <p:cNvSpPr>
              <a:spLocks noEditPoints="1"/>
            </p:cNvSpPr>
            <p:nvPr/>
          </p:nvSpPr>
          <p:spPr bwMode="auto">
            <a:xfrm>
              <a:off x="8402638" y="2428875"/>
              <a:ext cx="473075" cy="241300"/>
            </a:xfrm>
            <a:custGeom>
              <a:avLst/>
              <a:gdLst>
                <a:gd name="T0" fmla="*/ 23 w 126"/>
                <a:gd name="T1" fmla="*/ 0 h 64"/>
                <a:gd name="T2" fmla="*/ 0 w 126"/>
                <a:gd name="T3" fmla="*/ 41 h 64"/>
                <a:gd name="T4" fmla="*/ 103 w 126"/>
                <a:gd name="T5" fmla="*/ 64 h 64"/>
                <a:gd name="T6" fmla="*/ 126 w 126"/>
                <a:gd name="T7" fmla="*/ 23 h 64"/>
                <a:gd name="T8" fmla="*/ 40 w 126"/>
                <a:gd name="T9" fmla="*/ 14 h 64"/>
                <a:gd name="T10" fmla="*/ 32 w 126"/>
                <a:gd name="T11" fmla="*/ 51 h 64"/>
                <a:gd name="T12" fmla="*/ 25 w 126"/>
                <a:gd name="T13" fmla="*/ 14 h 64"/>
                <a:gd name="T14" fmla="*/ 18 w 126"/>
                <a:gd name="T15" fmla="*/ 8 h 64"/>
                <a:gd name="T16" fmla="*/ 40 w 126"/>
                <a:gd name="T17" fmla="*/ 14 h 64"/>
                <a:gd name="T18" fmla="*/ 54 w 126"/>
                <a:gd name="T19" fmla="*/ 51 h 64"/>
                <a:gd name="T20" fmla="*/ 50 w 126"/>
                <a:gd name="T21" fmla="*/ 51 h 64"/>
                <a:gd name="T22" fmla="*/ 43 w 126"/>
                <a:gd name="T23" fmla="*/ 50 h 64"/>
                <a:gd name="T24" fmla="*/ 42 w 126"/>
                <a:gd name="T25" fmla="*/ 19 h 64"/>
                <a:gd name="T26" fmla="*/ 49 w 126"/>
                <a:gd name="T27" fmla="*/ 44 h 64"/>
                <a:gd name="T28" fmla="*/ 50 w 126"/>
                <a:gd name="T29" fmla="*/ 46 h 64"/>
                <a:gd name="T30" fmla="*/ 54 w 126"/>
                <a:gd name="T31" fmla="*/ 43 h 64"/>
                <a:gd name="T32" fmla="*/ 61 w 126"/>
                <a:gd name="T33" fmla="*/ 19 h 64"/>
                <a:gd name="T34" fmla="*/ 84 w 126"/>
                <a:gd name="T35" fmla="*/ 44 h 64"/>
                <a:gd name="T36" fmla="*/ 78 w 126"/>
                <a:gd name="T37" fmla="*/ 51 h 64"/>
                <a:gd name="T38" fmla="*/ 72 w 126"/>
                <a:gd name="T39" fmla="*/ 49 h 64"/>
                <a:gd name="T40" fmla="*/ 65 w 126"/>
                <a:gd name="T41" fmla="*/ 51 h 64"/>
                <a:gd name="T42" fmla="*/ 72 w 126"/>
                <a:gd name="T43" fmla="*/ 8 h 64"/>
                <a:gd name="T44" fmla="*/ 74 w 126"/>
                <a:gd name="T45" fmla="*/ 20 h 64"/>
                <a:gd name="T46" fmla="*/ 82 w 126"/>
                <a:gd name="T47" fmla="*/ 21 h 64"/>
                <a:gd name="T48" fmla="*/ 84 w 126"/>
                <a:gd name="T49" fmla="*/ 44 h 64"/>
                <a:gd name="T50" fmla="*/ 94 w 126"/>
                <a:gd name="T51" fmla="*/ 36 h 64"/>
                <a:gd name="T52" fmla="*/ 94 w 126"/>
                <a:gd name="T53" fmla="*/ 45 h 64"/>
                <a:gd name="T54" fmla="*/ 99 w 126"/>
                <a:gd name="T55" fmla="*/ 46 h 64"/>
                <a:gd name="T56" fmla="*/ 99 w 126"/>
                <a:gd name="T57" fmla="*/ 40 h 64"/>
                <a:gd name="T58" fmla="*/ 106 w 126"/>
                <a:gd name="T59" fmla="*/ 42 h 64"/>
                <a:gd name="T60" fmla="*/ 96 w 126"/>
                <a:gd name="T61" fmla="*/ 52 h 64"/>
                <a:gd name="T62" fmla="*/ 87 w 126"/>
                <a:gd name="T63" fmla="*/ 42 h 64"/>
                <a:gd name="T64" fmla="*/ 90 w 126"/>
                <a:gd name="T65" fmla="*/ 21 h 64"/>
                <a:gd name="T66" fmla="*/ 103 w 126"/>
                <a:gd name="T67" fmla="*/ 21 h 64"/>
                <a:gd name="T68" fmla="*/ 106 w 126"/>
                <a:gd name="T69" fmla="*/ 36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6" h="64">
                  <a:moveTo>
                    <a:pt x="103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10" y="0"/>
                    <a:pt x="0" y="10"/>
                    <a:pt x="0" y="23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54"/>
                    <a:pt x="10" y="64"/>
                    <a:pt x="23" y="64"/>
                  </a:cubicBezTo>
                  <a:cubicBezTo>
                    <a:pt x="103" y="64"/>
                    <a:pt x="103" y="64"/>
                    <a:pt x="103" y="64"/>
                  </a:cubicBezTo>
                  <a:cubicBezTo>
                    <a:pt x="115" y="64"/>
                    <a:pt x="126" y="54"/>
                    <a:pt x="126" y="41"/>
                  </a:cubicBezTo>
                  <a:cubicBezTo>
                    <a:pt x="126" y="23"/>
                    <a:pt x="126" y="23"/>
                    <a:pt x="126" y="23"/>
                  </a:cubicBezTo>
                  <a:cubicBezTo>
                    <a:pt x="126" y="10"/>
                    <a:pt x="115" y="0"/>
                    <a:pt x="103" y="0"/>
                  </a:cubicBezTo>
                  <a:close/>
                  <a:moveTo>
                    <a:pt x="40" y="14"/>
                  </a:moveTo>
                  <a:cubicBezTo>
                    <a:pt x="32" y="14"/>
                    <a:pt x="32" y="14"/>
                    <a:pt x="32" y="14"/>
                  </a:cubicBezTo>
                  <a:cubicBezTo>
                    <a:pt x="32" y="51"/>
                    <a:pt x="32" y="51"/>
                    <a:pt x="32" y="51"/>
                  </a:cubicBezTo>
                  <a:cubicBezTo>
                    <a:pt x="25" y="51"/>
                    <a:pt x="25" y="51"/>
                    <a:pt x="25" y="51"/>
                  </a:cubicBezTo>
                  <a:cubicBezTo>
                    <a:pt x="25" y="14"/>
                    <a:pt x="25" y="14"/>
                    <a:pt x="25" y="14"/>
                  </a:cubicBezTo>
                  <a:cubicBezTo>
                    <a:pt x="18" y="14"/>
                    <a:pt x="18" y="14"/>
                    <a:pt x="18" y="14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40" y="8"/>
                    <a:pt x="40" y="8"/>
                    <a:pt x="40" y="8"/>
                  </a:cubicBezTo>
                  <a:lnTo>
                    <a:pt x="40" y="14"/>
                  </a:lnTo>
                  <a:close/>
                  <a:moveTo>
                    <a:pt x="61" y="51"/>
                  </a:moveTo>
                  <a:cubicBezTo>
                    <a:pt x="54" y="51"/>
                    <a:pt x="54" y="51"/>
                    <a:pt x="54" y="51"/>
                  </a:cubicBezTo>
                  <a:cubicBezTo>
                    <a:pt x="54" y="48"/>
                    <a:pt x="54" y="48"/>
                    <a:pt x="54" y="48"/>
                  </a:cubicBezTo>
                  <a:cubicBezTo>
                    <a:pt x="53" y="49"/>
                    <a:pt x="52" y="50"/>
                    <a:pt x="50" y="51"/>
                  </a:cubicBezTo>
                  <a:cubicBezTo>
                    <a:pt x="49" y="51"/>
                    <a:pt x="48" y="52"/>
                    <a:pt x="47" y="52"/>
                  </a:cubicBezTo>
                  <a:cubicBezTo>
                    <a:pt x="45" y="52"/>
                    <a:pt x="44" y="51"/>
                    <a:pt x="43" y="50"/>
                  </a:cubicBezTo>
                  <a:cubicBezTo>
                    <a:pt x="43" y="49"/>
                    <a:pt x="42" y="48"/>
                    <a:pt x="42" y="46"/>
                  </a:cubicBezTo>
                  <a:cubicBezTo>
                    <a:pt x="42" y="19"/>
                    <a:pt x="42" y="19"/>
                    <a:pt x="42" y="19"/>
                  </a:cubicBezTo>
                  <a:cubicBezTo>
                    <a:pt x="49" y="19"/>
                    <a:pt x="49" y="19"/>
                    <a:pt x="49" y="19"/>
                  </a:cubicBezTo>
                  <a:cubicBezTo>
                    <a:pt x="49" y="44"/>
                    <a:pt x="49" y="44"/>
                    <a:pt x="49" y="44"/>
                  </a:cubicBezTo>
                  <a:cubicBezTo>
                    <a:pt x="49" y="44"/>
                    <a:pt x="49" y="45"/>
                    <a:pt x="49" y="45"/>
                  </a:cubicBezTo>
                  <a:cubicBezTo>
                    <a:pt x="49" y="46"/>
                    <a:pt x="50" y="46"/>
                    <a:pt x="50" y="46"/>
                  </a:cubicBezTo>
                  <a:cubicBezTo>
                    <a:pt x="51" y="46"/>
                    <a:pt x="51" y="46"/>
                    <a:pt x="52" y="45"/>
                  </a:cubicBezTo>
                  <a:cubicBezTo>
                    <a:pt x="53" y="45"/>
                    <a:pt x="54" y="44"/>
                    <a:pt x="54" y="43"/>
                  </a:cubicBezTo>
                  <a:cubicBezTo>
                    <a:pt x="54" y="19"/>
                    <a:pt x="54" y="19"/>
                    <a:pt x="54" y="19"/>
                  </a:cubicBezTo>
                  <a:cubicBezTo>
                    <a:pt x="61" y="19"/>
                    <a:pt x="61" y="19"/>
                    <a:pt x="61" y="19"/>
                  </a:cubicBezTo>
                  <a:lnTo>
                    <a:pt x="61" y="51"/>
                  </a:lnTo>
                  <a:close/>
                  <a:moveTo>
                    <a:pt x="84" y="44"/>
                  </a:moveTo>
                  <a:cubicBezTo>
                    <a:pt x="84" y="47"/>
                    <a:pt x="83" y="48"/>
                    <a:pt x="82" y="50"/>
                  </a:cubicBezTo>
                  <a:cubicBezTo>
                    <a:pt x="81" y="51"/>
                    <a:pt x="80" y="51"/>
                    <a:pt x="78" y="51"/>
                  </a:cubicBezTo>
                  <a:cubicBezTo>
                    <a:pt x="77" y="51"/>
                    <a:pt x="75" y="51"/>
                    <a:pt x="74" y="51"/>
                  </a:cubicBezTo>
                  <a:cubicBezTo>
                    <a:pt x="74" y="50"/>
                    <a:pt x="73" y="50"/>
                    <a:pt x="72" y="49"/>
                  </a:cubicBezTo>
                  <a:cubicBezTo>
                    <a:pt x="72" y="51"/>
                    <a:pt x="72" y="51"/>
                    <a:pt x="72" y="51"/>
                  </a:cubicBezTo>
                  <a:cubicBezTo>
                    <a:pt x="65" y="51"/>
                    <a:pt x="65" y="51"/>
                    <a:pt x="65" y="51"/>
                  </a:cubicBezTo>
                  <a:cubicBezTo>
                    <a:pt x="65" y="8"/>
                    <a:pt x="65" y="8"/>
                    <a:pt x="65" y="8"/>
                  </a:cubicBezTo>
                  <a:cubicBezTo>
                    <a:pt x="72" y="8"/>
                    <a:pt x="72" y="8"/>
                    <a:pt x="72" y="8"/>
                  </a:cubicBezTo>
                  <a:cubicBezTo>
                    <a:pt x="72" y="22"/>
                    <a:pt x="72" y="22"/>
                    <a:pt x="72" y="22"/>
                  </a:cubicBezTo>
                  <a:cubicBezTo>
                    <a:pt x="73" y="21"/>
                    <a:pt x="74" y="20"/>
                    <a:pt x="74" y="20"/>
                  </a:cubicBezTo>
                  <a:cubicBezTo>
                    <a:pt x="75" y="19"/>
                    <a:pt x="76" y="19"/>
                    <a:pt x="77" y="19"/>
                  </a:cubicBezTo>
                  <a:cubicBezTo>
                    <a:pt x="79" y="19"/>
                    <a:pt x="81" y="19"/>
                    <a:pt x="82" y="21"/>
                  </a:cubicBezTo>
                  <a:cubicBezTo>
                    <a:pt x="83" y="22"/>
                    <a:pt x="84" y="24"/>
                    <a:pt x="84" y="27"/>
                  </a:cubicBezTo>
                  <a:lnTo>
                    <a:pt x="84" y="44"/>
                  </a:lnTo>
                  <a:close/>
                  <a:moveTo>
                    <a:pt x="106" y="36"/>
                  </a:moveTo>
                  <a:cubicBezTo>
                    <a:pt x="94" y="36"/>
                    <a:pt x="94" y="36"/>
                    <a:pt x="94" y="36"/>
                  </a:cubicBezTo>
                  <a:cubicBezTo>
                    <a:pt x="94" y="42"/>
                    <a:pt x="94" y="42"/>
                    <a:pt x="94" y="42"/>
                  </a:cubicBezTo>
                  <a:cubicBezTo>
                    <a:pt x="94" y="44"/>
                    <a:pt x="94" y="45"/>
                    <a:pt x="94" y="45"/>
                  </a:cubicBezTo>
                  <a:cubicBezTo>
                    <a:pt x="95" y="46"/>
                    <a:pt x="95" y="46"/>
                    <a:pt x="96" y="46"/>
                  </a:cubicBezTo>
                  <a:cubicBezTo>
                    <a:pt x="97" y="46"/>
                    <a:pt x="98" y="46"/>
                    <a:pt x="99" y="46"/>
                  </a:cubicBezTo>
                  <a:cubicBezTo>
                    <a:pt x="99" y="45"/>
                    <a:pt x="99" y="44"/>
                    <a:pt x="99" y="42"/>
                  </a:cubicBezTo>
                  <a:cubicBezTo>
                    <a:pt x="99" y="40"/>
                    <a:pt x="99" y="40"/>
                    <a:pt x="99" y="40"/>
                  </a:cubicBezTo>
                  <a:cubicBezTo>
                    <a:pt x="106" y="40"/>
                    <a:pt x="106" y="40"/>
                    <a:pt x="106" y="40"/>
                  </a:cubicBezTo>
                  <a:cubicBezTo>
                    <a:pt x="106" y="42"/>
                    <a:pt x="106" y="42"/>
                    <a:pt x="106" y="42"/>
                  </a:cubicBezTo>
                  <a:cubicBezTo>
                    <a:pt x="106" y="45"/>
                    <a:pt x="105" y="48"/>
                    <a:pt x="103" y="49"/>
                  </a:cubicBezTo>
                  <a:cubicBezTo>
                    <a:pt x="102" y="51"/>
                    <a:pt x="99" y="52"/>
                    <a:pt x="96" y="52"/>
                  </a:cubicBezTo>
                  <a:cubicBezTo>
                    <a:pt x="93" y="52"/>
                    <a:pt x="91" y="51"/>
                    <a:pt x="89" y="49"/>
                  </a:cubicBezTo>
                  <a:cubicBezTo>
                    <a:pt x="88" y="48"/>
                    <a:pt x="87" y="45"/>
                    <a:pt x="87" y="42"/>
                  </a:cubicBezTo>
                  <a:cubicBezTo>
                    <a:pt x="87" y="28"/>
                    <a:pt x="87" y="28"/>
                    <a:pt x="87" y="28"/>
                  </a:cubicBezTo>
                  <a:cubicBezTo>
                    <a:pt x="87" y="25"/>
                    <a:pt x="88" y="23"/>
                    <a:pt x="90" y="21"/>
                  </a:cubicBezTo>
                  <a:cubicBezTo>
                    <a:pt x="91" y="19"/>
                    <a:pt x="94" y="18"/>
                    <a:pt x="97" y="18"/>
                  </a:cubicBezTo>
                  <a:cubicBezTo>
                    <a:pt x="100" y="18"/>
                    <a:pt x="102" y="19"/>
                    <a:pt x="103" y="21"/>
                  </a:cubicBezTo>
                  <a:cubicBezTo>
                    <a:pt x="105" y="22"/>
                    <a:pt x="106" y="25"/>
                    <a:pt x="106" y="28"/>
                  </a:cubicBezTo>
                  <a:lnTo>
                    <a:pt x="106" y="3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 sz="1600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74" name="深度视觉·原创设计 https://www.docer.com/works?userid=22383862"/>
            <p:cNvSpPr/>
            <p:nvPr/>
          </p:nvSpPr>
          <p:spPr bwMode="auto">
            <a:xfrm>
              <a:off x="8755063" y="2519363"/>
              <a:ext cx="19050" cy="26988"/>
            </a:xfrm>
            <a:custGeom>
              <a:avLst/>
              <a:gdLst>
                <a:gd name="T0" fmla="*/ 2 w 5"/>
                <a:gd name="T1" fmla="*/ 0 h 7"/>
                <a:gd name="T2" fmla="*/ 0 w 5"/>
                <a:gd name="T3" fmla="*/ 1 h 7"/>
                <a:gd name="T4" fmla="*/ 0 w 5"/>
                <a:gd name="T5" fmla="*/ 4 h 7"/>
                <a:gd name="T6" fmla="*/ 0 w 5"/>
                <a:gd name="T7" fmla="*/ 7 h 7"/>
                <a:gd name="T8" fmla="*/ 5 w 5"/>
                <a:gd name="T9" fmla="*/ 7 h 7"/>
                <a:gd name="T10" fmla="*/ 5 w 5"/>
                <a:gd name="T11" fmla="*/ 4 h 7"/>
                <a:gd name="T12" fmla="*/ 4 w 5"/>
                <a:gd name="T13" fmla="*/ 1 h 7"/>
                <a:gd name="T14" fmla="*/ 2 w 5"/>
                <a:gd name="T1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" h="7">
                  <a:moveTo>
                    <a:pt x="2" y="0"/>
                  </a:moveTo>
                  <a:cubicBezTo>
                    <a:pt x="1" y="0"/>
                    <a:pt x="1" y="0"/>
                    <a:pt x="0" y="1"/>
                  </a:cubicBezTo>
                  <a:cubicBezTo>
                    <a:pt x="0" y="1"/>
                    <a:pt x="0" y="2"/>
                    <a:pt x="0" y="4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2"/>
                    <a:pt x="5" y="1"/>
                    <a:pt x="4" y="1"/>
                  </a:cubicBezTo>
                  <a:cubicBezTo>
                    <a:pt x="4" y="0"/>
                    <a:pt x="3" y="0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 sz="1600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75" name="深度视觉·原创设计 https://www.docer.com/works?userid=22383862"/>
            <p:cNvSpPr/>
            <p:nvPr/>
          </p:nvSpPr>
          <p:spPr bwMode="auto">
            <a:xfrm>
              <a:off x="8672513" y="2519363"/>
              <a:ext cx="19050" cy="82550"/>
            </a:xfrm>
            <a:custGeom>
              <a:avLst/>
              <a:gdLst>
                <a:gd name="T0" fmla="*/ 2 w 5"/>
                <a:gd name="T1" fmla="*/ 0 h 22"/>
                <a:gd name="T2" fmla="*/ 1 w 5"/>
                <a:gd name="T3" fmla="*/ 0 h 22"/>
                <a:gd name="T4" fmla="*/ 0 w 5"/>
                <a:gd name="T5" fmla="*/ 1 h 22"/>
                <a:gd name="T6" fmla="*/ 0 w 5"/>
                <a:gd name="T7" fmla="*/ 21 h 22"/>
                <a:gd name="T8" fmla="*/ 1 w 5"/>
                <a:gd name="T9" fmla="*/ 22 h 22"/>
                <a:gd name="T10" fmla="*/ 3 w 5"/>
                <a:gd name="T11" fmla="*/ 22 h 22"/>
                <a:gd name="T12" fmla="*/ 5 w 5"/>
                <a:gd name="T13" fmla="*/ 22 h 22"/>
                <a:gd name="T14" fmla="*/ 5 w 5"/>
                <a:gd name="T15" fmla="*/ 20 h 22"/>
                <a:gd name="T16" fmla="*/ 5 w 5"/>
                <a:gd name="T17" fmla="*/ 3 h 22"/>
                <a:gd name="T18" fmla="*/ 4 w 5"/>
                <a:gd name="T19" fmla="*/ 1 h 22"/>
                <a:gd name="T20" fmla="*/ 2 w 5"/>
                <a:gd name="T2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" h="22">
                  <a:moveTo>
                    <a:pt x="2" y="0"/>
                  </a:moveTo>
                  <a:cubicBezTo>
                    <a:pt x="2" y="0"/>
                    <a:pt x="2" y="0"/>
                    <a:pt x="1" y="0"/>
                  </a:cubicBezTo>
                  <a:cubicBezTo>
                    <a:pt x="1" y="0"/>
                    <a:pt x="0" y="1"/>
                    <a:pt x="0" y="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2"/>
                    <a:pt x="1" y="22"/>
                    <a:pt x="1" y="22"/>
                  </a:cubicBezTo>
                  <a:cubicBezTo>
                    <a:pt x="2" y="22"/>
                    <a:pt x="2" y="22"/>
                    <a:pt x="3" y="22"/>
                  </a:cubicBezTo>
                  <a:cubicBezTo>
                    <a:pt x="4" y="22"/>
                    <a:pt x="4" y="22"/>
                    <a:pt x="5" y="22"/>
                  </a:cubicBezTo>
                  <a:cubicBezTo>
                    <a:pt x="5" y="21"/>
                    <a:pt x="5" y="21"/>
                    <a:pt x="5" y="20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2"/>
                    <a:pt x="5" y="1"/>
                    <a:pt x="4" y="1"/>
                  </a:cubicBezTo>
                  <a:cubicBezTo>
                    <a:pt x="4" y="0"/>
                    <a:pt x="3" y="0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 sz="1600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76" name="深度视觉·原创设计 https://www.docer.com/works?userid=22383862"/>
            <p:cNvSpPr/>
            <p:nvPr/>
          </p:nvSpPr>
          <p:spPr bwMode="auto">
            <a:xfrm>
              <a:off x="8493126" y="2208213"/>
              <a:ext cx="101600" cy="179388"/>
            </a:xfrm>
            <a:custGeom>
              <a:avLst/>
              <a:gdLst>
                <a:gd name="T0" fmla="*/ 21 w 64"/>
                <a:gd name="T1" fmla="*/ 113 h 113"/>
                <a:gd name="T2" fmla="*/ 40 w 64"/>
                <a:gd name="T3" fmla="*/ 113 h 113"/>
                <a:gd name="T4" fmla="*/ 40 w 64"/>
                <a:gd name="T5" fmla="*/ 66 h 113"/>
                <a:gd name="T6" fmla="*/ 64 w 64"/>
                <a:gd name="T7" fmla="*/ 0 h 113"/>
                <a:gd name="T8" fmla="*/ 42 w 64"/>
                <a:gd name="T9" fmla="*/ 0 h 113"/>
                <a:gd name="T10" fmla="*/ 31 w 64"/>
                <a:gd name="T11" fmla="*/ 45 h 113"/>
                <a:gd name="T12" fmla="*/ 31 w 64"/>
                <a:gd name="T13" fmla="*/ 45 h 113"/>
                <a:gd name="T14" fmla="*/ 19 w 64"/>
                <a:gd name="T15" fmla="*/ 0 h 113"/>
                <a:gd name="T16" fmla="*/ 0 w 64"/>
                <a:gd name="T17" fmla="*/ 0 h 113"/>
                <a:gd name="T18" fmla="*/ 21 w 64"/>
                <a:gd name="T19" fmla="*/ 68 h 113"/>
                <a:gd name="T20" fmla="*/ 21 w 64"/>
                <a:gd name="T21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4" h="113">
                  <a:moveTo>
                    <a:pt x="21" y="113"/>
                  </a:moveTo>
                  <a:lnTo>
                    <a:pt x="40" y="113"/>
                  </a:lnTo>
                  <a:lnTo>
                    <a:pt x="40" y="66"/>
                  </a:lnTo>
                  <a:lnTo>
                    <a:pt x="64" y="0"/>
                  </a:lnTo>
                  <a:lnTo>
                    <a:pt x="42" y="0"/>
                  </a:lnTo>
                  <a:lnTo>
                    <a:pt x="31" y="45"/>
                  </a:lnTo>
                  <a:lnTo>
                    <a:pt x="31" y="45"/>
                  </a:lnTo>
                  <a:lnTo>
                    <a:pt x="19" y="0"/>
                  </a:lnTo>
                  <a:lnTo>
                    <a:pt x="0" y="0"/>
                  </a:lnTo>
                  <a:lnTo>
                    <a:pt x="21" y="68"/>
                  </a:lnTo>
                  <a:lnTo>
                    <a:pt x="21" y="11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 sz="1600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77" name="深度视觉·原创设计 https://www.docer.com/works?userid=22383862"/>
            <p:cNvSpPr>
              <a:spLocks noEditPoints="1"/>
            </p:cNvSpPr>
            <p:nvPr/>
          </p:nvSpPr>
          <p:spPr bwMode="auto">
            <a:xfrm>
              <a:off x="8594726" y="2252663"/>
              <a:ext cx="77788" cy="139700"/>
            </a:xfrm>
            <a:custGeom>
              <a:avLst/>
              <a:gdLst>
                <a:gd name="T0" fmla="*/ 11 w 21"/>
                <a:gd name="T1" fmla="*/ 37 h 37"/>
                <a:gd name="T2" fmla="*/ 18 w 21"/>
                <a:gd name="T3" fmla="*/ 34 h 37"/>
                <a:gd name="T4" fmla="*/ 21 w 21"/>
                <a:gd name="T5" fmla="*/ 27 h 37"/>
                <a:gd name="T6" fmla="*/ 21 w 21"/>
                <a:gd name="T7" fmla="*/ 9 h 37"/>
                <a:gd name="T8" fmla="*/ 18 w 21"/>
                <a:gd name="T9" fmla="*/ 2 h 37"/>
                <a:gd name="T10" fmla="*/ 11 w 21"/>
                <a:gd name="T11" fmla="*/ 0 h 37"/>
                <a:gd name="T12" fmla="*/ 3 w 21"/>
                <a:gd name="T13" fmla="*/ 2 h 37"/>
                <a:gd name="T14" fmla="*/ 0 w 21"/>
                <a:gd name="T15" fmla="*/ 9 h 37"/>
                <a:gd name="T16" fmla="*/ 0 w 21"/>
                <a:gd name="T17" fmla="*/ 27 h 37"/>
                <a:gd name="T18" fmla="*/ 3 w 21"/>
                <a:gd name="T19" fmla="*/ 34 h 37"/>
                <a:gd name="T20" fmla="*/ 11 w 21"/>
                <a:gd name="T21" fmla="*/ 37 h 37"/>
                <a:gd name="T22" fmla="*/ 8 w 21"/>
                <a:gd name="T23" fmla="*/ 8 h 37"/>
                <a:gd name="T24" fmla="*/ 8 w 21"/>
                <a:gd name="T25" fmla="*/ 7 h 37"/>
                <a:gd name="T26" fmla="*/ 11 w 21"/>
                <a:gd name="T27" fmla="*/ 6 h 37"/>
                <a:gd name="T28" fmla="*/ 13 w 21"/>
                <a:gd name="T29" fmla="*/ 7 h 37"/>
                <a:gd name="T30" fmla="*/ 14 w 21"/>
                <a:gd name="T31" fmla="*/ 8 h 37"/>
                <a:gd name="T32" fmla="*/ 14 w 21"/>
                <a:gd name="T33" fmla="*/ 28 h 37"/>
                <a:gd name="T34" fmla="*/ 13 w 21"/>
                <a:gd name="T35" fmla="*/ 30 h 37"/>
                <a:gd name="T36" fmla="*/ 11 w 21"/>
                <a:gd name="T37" fmla="*/ 31 h 37"/>
                <a:gd name="T38" fmla="*/ 8 w 21"/>
                <a:gd name="T39" fmla="*/ 30 h 37"/>
                <a:gd name="T40" fmla="*/ 8 w 21"/>
                <a:gd name="T41" fmla="*/ 28 h 37"/>
                <a:gd name="T42" fmla="*/ 8 w 21"/>
                <a:gd name="T43" fmla="*/ 8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1" h="37">
                  <a:moveTo>
                    <a:pt x="11" y="37"/>
                  </a:moveTo>
                  <a:cubicBezTo>
                    <a:pt x="14" y="37"/>
                    <a:pt x="16" y="36"/>
                    <a:pt x="18" y="34"/>
                  </a:cubicBezTo>
                  <a:cubicBezTo>
                    <a:pt x="20" y="32"/>
                    <a:pt x="21" y="30"/>
                    <a:pt x="21" y="27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6"/>
                    <a:pt x="20" y="4"/>
                    <a:pt x="18" y="2"/>
                  </a:cubicBezTo>
                  <a:cubicBezTo>
                    <a:pt x="16" y="1"/>
                    <a:pt x="14" y="0"/>
                    <a:pt x="11" y="0"/>
                  </a:cubicBezTo>
                  <a:cubicBezTo>
                    <a:pt x="8" y="0"/>
                    <a:pt x="5" y="1"/>
                    <a:pt x="3" y="2"/>
                  </a:cubicBezTo>
                  <a:cubicBezTo>
                    <a:pt x="1" y="4"/>
                    <a:pt x="0" y="6"/>
                    <a:pt x="0" y="9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30"/>
                    <a:pt x="1" y="32"/>
                    <a:pt x="3" y="34"/>
                  </a:cubicBezTo>
                  <a:cubicBezTo>
                    <a:pt x="5" y="36"/>
                    <a:pt x="7" y="37"/>
                    <a:pt x="11" y="37"/>
                  </a:cubicBezTo>
                  <a:close/>
                  <a:moveTo>
                    <a:pt x="8" y="8"/>
                  </a:moveTo>
                  <a:cubicBezTo>
                    <a:pt x="8" y="8"/>
                    <a:pt x="8" y="7"/>
                    <a:pt x="8" y="7"/>
                  </a:cubicBezTo>
                  <a:cubicBezTo>
                    <a:pt x="9" y="6"/>
                    <a:pt x="10" y="6"/>
                    <a:pt x="11" y="6"/>
                  </a:cubicBezTo>
                  <a:cubicBezTo>
                    <a:pt x="12" y="6"/>
                    <a:pt x="12" y="6"/>
                    <a:pt x="13" y="7"/>
                  </a:cubicBezTo>
                  <a:cubicBezTo>
                    <a:pt x="13" y="7"/>
                    <a:pt x="14" y="8"/>
                    <a:pt x="14" y="8"/>
                  </a:cubicBezTo>
                  <a:cubicBezTo>
                    <a:pt x="14" y="28"/>
                    <a:pt x="14" y="28"/>
                    <a:pt x="14" y="28"/>
                  </a:cubicBezTo>
                  <a:cubicBezTo>
                    <a:pt x="14" y="28"/>
                    <a:pt x="13" y="29"/>
                    <a:pt x="13" y="30"/>
                  </a:cubicBezTo>
                  <a:cubicBezTo>
                    <a:pt x="12" y="30"/>
                    <a:pt x="12" y="31"/>
                    <a:pt x="11" y="31"/>
                  </a:cubicBezTo>
                  <a:cubicBezTo>
                    <a:pt x="10" y="31"/>
                    <a:pt x="9" y="30"/>
                    <a:pt x="8" y="30"/>
                  </a:cubicBezTo>
                  <a:cubicBezTo>
                    <a:pt x="8" y="29"/>
                    <a:pt x="8" y="28"/>
                    <a:pt x="8" y="28"/>
                  </a:cubicBezTo>
                  <a:lnTo>
                    <a:pt x="8" y="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 sz="1600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78" name="深度视觉·原创设计 https://www.docer.com/works?userid=22383862"/>
            <p:cNvSpPr/>
            <p:nvPr/>
          </p:nvSpPr>
          <p:spPr bwMode="auto">
            <a:xfrm>
              <a:off x="8696326" y="2255838"/>
              <a:ext cx="74613" cy="131763"/>
            </a:xfrm>
            <a:custGeom>
              <a:avLst/>
              <a:gdLst>
                <a:gd name="T0" fmla="*/ 5 w 20"/>
                <a:gd name="T1" fmla="*/ 35 h 35"/>
                <a:gd name="T2" fmla="*/ 9 w 20"/>
                <a:gd name="T3" fmla="*/ 34 h 35"/>
                <a:gd name="T4" fmla="*/ 13 w 20"/>
                <a:gd name="T5" fmla="*/ 31 h 35"/>
                <a:gd name="T6" fmla="*/ 13 w 20"/>
                <a:gd name="T7" fmla="*/ 35 h 35"/>
                <a:gd name="T8" fmla="*/ 20 w 20"/>
                <a:gd name="T9" fmla="*/ 35 h 35"/>
                <a:gd name="T10" fmla="*/ 20 w 20"/>
                <a:gd name="T11" fmla="*/ 0 h 35"/>
                <a:gd name="T12" fmla="*/ 13 w 20"/>
                <a:gd name="T13" fmla="*/ 0 h 35"/>
                <a:gd name="T14" fmla="*/ 13 w 20"/>
                <a:gd name="T15" fmla="*/ 26 h 35"/>
                <a:gd name="T16" fmla="*/ 11 w 20"/>
                <a:gd name="T17" fmla="*/ 28 h 35"/>
                <a:gd name="T18" fmla="*/ 9 w 20"/>
                <a:gd name="T19" fmla="*/ 29 h 35"/>
                <a:gd name="T20" fmla="*/ 8 w 20"/>
                <a:gd name="T21" fmla="*/ 28 h 35"/>
                <a:gd name="T22" fmla="*/ 7 w 20"/>
                <a:gd name="T23" fmla="*/ 27 h 35"/>
                <a:gd name="T24" fmla="*/ 7 w 20"/>
                <a:gd name="T25" fmla="*/ 0 h 35"/>
                <a:gd name="T26" fmla="*/ 0 w 20"/>
                <a:gd name="T27" fmla="*/ 0 h 35"/>
                <a:gd name="T28" fmla="*/ 0 w 20"/>
                <a:gd name="T29" fmla="*/ 29 h 35"/>
                <a:gd name="T30" fmla="*/ 1 w 20"/>
                <a:gd name="T31" fmla="*/ 34 h 35"/>
                <a:gd name="T32" fmla="*/ 5 w 20"/>
                <a:gd name="T33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0" h="35">
                  <a:moveTo>
                    <a:pt x="5" y="35"/>
                  </a:moveTo>
                  <a:cubicBezTo>
                    <a:pt x="6" y="35"/>
                    <a:pt x="8" y="35"/>
                    <a:pt x="9" y="34"/>
                  </a:cubicBezTo>
                  <a:cubicBezTo>
                    <a:pt x="10" y="33"/>
                    <a:pt x="12" y="32"/>
                    <a:pt x="13" y="31"/>
                  </a:cubicBezTo>
                  <a:cubicBezTo>
                    <a:pt x="13" y="35"/>
                    <a:pt x="13" y="35"/>
                    <a:pt x="13" y="35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3" y="27"/>
                    <a:pt x="12" y="28"/>
                    <a:pt x="11" y="28"/>
                  </a:cubicBezTo>
                  <a:cubicBezTo>
                    <a:pt x="10" y="29"/>
                    <a:pt x="9" y="29"/>
                    <a:pt x="9" y="29"/>
                  </a:cubicBezTo>
                  <a:cubicBezTo>
                    <a:pt x="8" y="29"/>
                    <a:pt x="8" y="29"/>
                    <a:pt x="8" y="28"/>
                  </a:cubicBezTo>
                  <a:cubicBezTo>
                    <a:pt x="7" y="28"/>
                    <a:pt x="7" y="27"/>
                    <a:pt x="7" y="27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31"/>
                    <a:pt x="0" y="33"/>
                    <a:pt x="1" y="34"/>
                  </a:cubicBezTo>
                  <a:cubicBezTo>
                    <a:pt x="2" y="35"/>
                    <a:pt x="3" y="35"/>
                    <a:pt x="5" y="3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 sz="1600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</p:grpSp>
      <p:sp>
        <p:nvSpPr>
          <p:cNvPr id="79" name="深度视觉·原创设计 https://www.docer.com/works?userid=22383862"/>
          <p:cNvSpPr/>
          <p:nvPr/>
        </p:nvSpPr>
        <p:spPr>
          <a:xfrm>
            <a:off x="8959386" y="2858973"/>
            <a:ext cx="2467853" cy="843813"/>
          </a:xfrm>
          <a:prstGeom prst="rect">
            <a:avLst/>
          </a:prstGeom>
        </p:spPr>
        <p:txBody>
          <a:bodyPr wrap="square" lIns="91433" tIns="45716" rIns="91433" bIns="45716">
            <a:spAutoFit/>
          </a:bodyPr>
          <a:lstStyle/>
          <a:p>
            <a:pPr lvl="0" algn="l">
              <a:lnSpc>
                <a:spcPts val="2000"/>
              </a:lnSpc>
              <a:defRPr/>
            </a:pPr>
            <a:r>
              <a:rPr lang="zh-CN" altLang="en-US" sz="1200" dirty="0">
                <a:solidFill>
                  <a:schemeClr val="bg1">
                    <a:lumMod val="50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请在此处添加具体内容，文字尽量言简意赅，简单说明即可，不必过于繁琐，注意板面美观度。</a:t>
            </a:r>
            <a:endParaRPr lang="zh-CN" altLang="en-US" sz="1200" dirty="0">
              <a:solidFill>
                <a:schemeClr val="bg1">
                  <a:lumMod val="50000"/>
                </a:schemeClr>
              </a:solidFill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80" name="深度视觉·原创设计 https://www.docer.com/works?userid=22383862"/>
          <p:cNvSpPr/>
          <p:nvPr/>
        </p:nvSpPr>
        <p:spPr>
          <a:xfrm>
            <a:off x="8959386" y="2508758"/>
            <a:ext cx="1934520" cy="375920"/>
          </a:xfrm>
          <a:prstGeom prst="rect">
            <a:avLst/>
          </a:prstGeom>
        </p:spPr>
        <p:txBody>
          <a:bodyPr wrap="square" lIns="91433" tIns="45716" rIns="91433" bIns="45716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860" b="1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汉仪正圆-55W" panose="00020600040101010101" pitchFamily="18" charset="-122"/>
                <a:ea typeface="汉仪正圆-55W" panose="00020600040101010101" pitchFamily="18" charset="-122"/>
                <a:cs typeface="Open Sans" pitchFamily="34" charset="0"/>
                <a:sym typeface="汉仪正圆-55W" panose="00020600040101010101" pitchFamily="18" charset="-122"/>
              </a:rPr>
              <a:t>添加标题</a:t>
            </a:r>
            <a:endParaRPr kumimoji="0" lang="zh-CN" altLang="en-US" sz="186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汉仪正圆-55W" panose="00020600040101010101" pitchFamily="18" charset="-122"/>
              <a:ea typeface="汉仪正圆-55W" panose="00020600040101010101" pitchFamily="18" charset="-122"/>
              <a:cs typeface="Open Sans" pitchFamily="34" charset="0"/>
              <a:sym typeface="汉仪正圆-55W" panose="00020600040101010101" pitchFamily="18" charset="-122"/>
            </a:endParaRPr>
          </a:p>
        </p:txBody>
      </p:sp>
      <p:sp>
        <p:nvSpPr>
          <p:cNvPr id="81" name="深度视觉·原创设计 https://www.docer.com/works?userid=22383862"/>
          <p:cNvSpPr/>
          <p:nvPr/>
        </p:nvSpPr>
        <p:spPr>
          <a:xfrm>
            <a:off x="1273377" y="5072987"/>
            <a:ext cx="2467853" cy="843813"/>
          </a:xfrm>
          <a:prstGeom prst="rect">
            <a:avLst/>
          </a:prstGeom>
        </p:spPr>
        <p:txBody>
          <a:bodyPr wrap="square" lIns="91433" tIns="45716" rIns="91433" bIns="45716">
            <a:spAutoFit/>
          </a:bodyPr>
          <a:lstStyle/>
          <a:p>
            <a:pPr lvl="0" algn="r">
              <a:lnSpc>
                <a:spcPts val="2000"/>
              </a:lnSpc>
              <a:defRPr/>
            </a:pPr>
            <a:r>
              <a:rPr lang="zh-CN" altLang="en-US" sz="1200" dirty="0">
                <a:solidFill>
                  <a:schemeClr val="bg1">
                    <a:lumMod val="50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请在此处添加具体内容，文字尽量言简意赅，简单说明即可，不必过于繁琐，注意板面美观度。</a:t>
            </a:r>
            <a:endParaRPr lang="zh-CN" altLang="en-US" sz="1200" dirty="0">
              <a:solidFill>
                <a:schemeClr val="bg1">
                  <a:lumMod val="50000"/>
                </a:schemeClr>
              </a:solidFill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82" name="深度视觉·原创设计 https://www.docer.com/works?userid=22383862"/>
          <p:cNvSpPr/>
          <p:nvPr/>
        </p:nvSpPr>
        <p:spPr>
          <a:xfrm>
            <a:off x="1806710" y="4722772"/>
            <a:ext cx="1934520" cy="375920"/>
          </a:xfrm>
          <a:prstGeom prst="rect">
            <a:avLst/>
          </a:prstGeom>
        </p:spPr>
        <p:txBody>
          <a:bodyPr wrap="square" lIns="91433" tIns="45716" rIns="91433" bIns="45716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860" b="1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汉仪正圆-55W" panose="00020600040101010101" pitchFamily="18" charset="-122"/>
                <a:ea typeface="汉仪正圆-55W" panose="00020600040101010101" pitchFamily="18" charset="-122"/>
                <a:cs typeface="Open Sans" pitchFamily="34" charset="0"/>
                <a:sym typeface="汉仪正圆-55W" panose="00020600040101010101" pitchFamily="18" charset="-122"/>
              </a:rPr>
              <a:t>添加标题</a:t>
            </a:r>
            <a:endParaRPr kumimoji="0" lang="zh-CN" altLang="en-US" sz="186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汉仪正圆-55W" panose="00020600040101010101" pitchFamily="18" charset="-122"/>
              <a:ea typeface="汉仪正圆-55W" panose="00020600040101010101" pitchFamily="18" charset="-122"/>
              <a:cs typeface="Open Sans" pitchFamily="34" charset="0"/>
              <a:sym typeface="汉仪正圆-55W" panose="00020600040101010101" pitchFamily="18" charset="-122"/>
            </a:endParaRPr>
          </a:p>
        </p:txBody>
      </p:sp>
      <p:sp>
        <p:nvSpPr>
          <p:cNvPr id="83" name="深度视觉·原创设计 https://www.docer.com/works?userid=22383862"/>
          <p:cNvSpPr/>
          <p:nvPr/>
        </p:nvSpPr>
        <p:spPr>
          <a:xfrm>
            <a:off x="1005388" y="2030252"/>
            <a:ext cx="2467853" cy="843813"/>
          </a:xfrm>
          <a:prstGeom prst="rect">
            <a:avLst/>
          </a:prstGeom>
        </p:spPr>
        <p:txBody>
          <a:bodyPr wrap="square" lIns="91433" tIns="45716" rIns="91433" bIns="45716">
            <a:spAutoFit/>
          </a:bodyPr>
          <a:lstStyle/>
          <a:p>
            <a:pPr lvl="0" algn="r">
              <a:lnSpc>
                <a:spcPts val="2000"/>
              </a:lnSpc>
              <a:defRPr/>
            </a:pPr>
            <a:r>
              <a:rPr lang="zh-CN" altLang="en-US" sz="1200" dirty="0">
                <a:solidFill>
                  <a:schemeClr val="bg1">
                    <a:lumMod val="50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请在此处添加具体内容，文字尽量言简意赅，简单说明即可，不必过于繁琐，注意板面美观度。</a:t>
            </a:r>
            <a:endParaRPr lang="zh-CN" altLang="en-US" sz="1200" dirty="0">
              <a:solidFill>
                <a:schemeClr val="bg1">
                  <a:lumMod val="50000"/>
                </a:schemeClr>
              </a:solidFill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84" name="深度视觉·原创设计 https://www.docer.com/works?userid=22383862"/>
          <p:cNvSpPr/>
          <p:nvPr/>
        </p:nvSpPr>
        <p:spPr>
          <a:xfrm>
            <a:off x="1538721" y="1680037"/>
            <a:ext cx="1934520" cy="375920"/>
          </a:xfrm>
          <a:prstGeom prst="rect">
            <a:avLst/>
          </a:prstGeom>
        </p:spPr>
        <p:txBody>
          <a:bodyPr wrap="square" lIns="91433" tIns="45716" rIns="91433" bIns="45716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860" b="1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汉仪正圆-55W" panose="00020600040101010101" pitchFamily="18" charset="-122"/>
                <a:ea typeface="汉仪正圆-55W" panose="00020600040101010101" pitchFamily="18" charset="-122"/>
                <a:cs typeface="Open Sans" pitchFamily="34" charset="0"/>
                <a:sym typeface="汉仪正圆-55W" panose="00020600040101010101" pitchFamily="18" charset="-122"/>
              </a:rPr>
              <a:t>添加标题</a:t>
            </a:r>
            <a:endParaRPr kumimoji="0" lang="zh-CN" altLang="en-US" sz="186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汉仪正圆-55W" panose="00020600040101010101" pitchFamily="18" charset="-122"/>
              <a:ea typeface="汉仪正圆-55W" panose="00020600040101010101" pitchFamily="18" charset="-122"/>
              <a:cs typeface="Open Sans" pitchFamily="34" charset="0"/>
              <a:sym typeface="汉仪正圆-55W" panose="00020600040101010101" pitchFamily="18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25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4054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25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25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25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915"/>
                            </p:stCondLst>
                            <p:childTnLst>
                              <p:par>
                                <p:cTn id="17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25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25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25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415"/>
                            </p:stCondLst>
                            <p:childTnLst>
                              <p:par>
                                <p:cTn id="23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4054"/>
                                  </p:iterate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25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25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25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831"/>
                            </p:stCondLst>
                            <p:childTnLst>
                              <p:par>
                                <p:cTn id="2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25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25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25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2331"/>
                            </p:stCondLst>
                            <p:childTnLst>
                              <p:par>
                                <p:cTn id="3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4054"/>
                                  </p:iterate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25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25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25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9" grpId="0"/>
      <p:bldP spid="80" grpId="0"/>
      <p:bldP spid="81" grpId="0"/>
      <p:bldP spid="82" grpId="0"/>
      <p:bldP spid="83" grpId="0"/>
      <p:bldP spid="84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深度视觉·原创设计 https://www.docer.com/works?userid=22383862"/>
          <p:cNvSpPr/>
          <p:nvPr/>
        </p:nvSpPr>
        <p:spPr>
          <a:xfrm flipH="1">
            <a:off x="9677400" y="4533899"/>
            <a:ext cx="2514600" cy="2324101"/>
          </a:xfrm>
          <a:prstGeom prst="corner">
            <a:avLst>
              <a:gd name="adj1" fmla="val 17397"/>
              <a:gd name="adj2" fmla="val 16614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6" name="深度视觉·原创设计 https://www.docer.com/works?userid=22383862"/>
          <p:cNvSpPr/>
          <p:nvPr/>
        </p:nvSpPr>
        <p:spPr>
          <a:xfrm rot="10800000" flipH="1">
            <a:off x="0" y="0"/>
            <a:ext cx="2514600" cy="2324101"/>
          </a:xfrm>
          <a:prstGeom prst="corner">
            <a:avLst>
              <a:gd name="adj1" fmla="val 17397"/>
              <a:gd name="adj2" fmla="val 16614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8" name="深度视觉·原创设计 https://www.docer.com/works?userid=22383862"/>
          <p:cNvSpPr txBox="1"/>
          <p:nvPr/>
        </p:nvSpPr>
        <p:spPr>
          <a:xfrm>
            <a:off x="1645262" y="2813447"/>
            <a:ext cx="4857138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4000" b="1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汉仪正圆-55W" panose="00020600040101010101" pitchFamily="18" charset="-122"/>
                <a:ea typeface="汉仪正圆-55W" panose="00020600040101010101" pitchFamily="18" charset="-122"/>
                <a:cs typeface="Alibaba PuHuiTi" pitchFamily="18" charset="-122"/>
                <a:sym typeface="汉仪正圆-55W" panose="00020600040101010101" pitchFamily="18" charset="-122"/>
              </a:rPr>
              <a:t>未来工作规划</a:t>
            </a:r>
            <a:endParaRPr kumimoji="0" lang="zh-CN" altLang="en-US" sz="40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汉仪正圆-55W" panose="00020600040101010101" pitchFamily="18" charset="-122"/>
              <a:ea typeface="汉仪正圆-55W" panose="00020600040101010101" pitchFamily="18" charset="-122"/>
              <a:cs typeface="Alibaba PuHuiTi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9" name="深度视觉·原创设计 https://www.docer.com/works?userid=22383862"/>
          <p:cNvSpPr/>
          <p:nvPr/>
        </p:nvSpPr>
        <p:spPr>
          <a:xfrm>
            <a:off x="1645262" y="2080208"/>
            <a:ext cx="2103800" cy="500806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>
                <a:solidFill>
                  <a:schemeClr val="lt1"/>
                </a:solidFill>
              </a:defRPr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2800" dirty="0">
                <a:solidFill>
                  <a:schemeClr val="bg1"/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cs typeface="Alibaba PuHuiTi" pitchFamily="18" charset="-122"/>
                <a:sym typeface="汉仪正圆-55W" panose="00020600040101010101" pitchFamily="18" charset="-122"/>
              </a:rPr>
              <a:t>PART 04</a:t>
            </a:r>
            <a:endParaRPr lang="zh-CN" altLang="en-US" sz="2800" dirty="0">
              <a:solidFill>
                <a:schemeClr val="bg1"/>
              </a:solidFill>
              <a:latin typeface="汉仪正圆-55W" panose="00020600040101010101" pitchFamily="18" charset="-122"/>
              <a:ea typeface="汉仪正圆-55W" panose="00020600040101010101" pitchFamily="18" charset="-122"/>
              <a:cs typeface="Alibaba PuHuiTi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10" name="深度视觉·原创设计 https://www.docer.com/works?userid=22383862"/>
          <p:cNvSpPr txBox="1"/>
          <p:nvPr/>
        </p:nvSpPr>
        <p:spPr>
          <a:xfrm>
            <a:off x="1645262" y="3661433"/>
            <a:ext cx="4305595" cy="10348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400" dirty="0">
                <a:solidFill>
                  <a:schemeClr val="tx1">
                    <a:lumMod val="85000"/>
                    <a:lumOff val="15000"/>
                    <a:alpha val="50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cs typeface="Alibaba PuHuiTi" pitchFamily="18" charset="-122"/>
                <a:sym typeface="汉仪正圆-55W" panose="00020600040101010101" pitchFamily="18" charset="-122"/>
              </a:rPr>
              <a:t>正文内容，本段适应大段文字章节。如果文字较多的内容描述比较适合放在这里，请在此修改您的内容，或者将内容粘贴到记事本后，复制到此段落中。</a:t>
            </a:r>
            <a:endParaRPr lang="en-US" altLang="zh-CN" sz="1400" dirty="0">
              <a:solidFill>
                <a:schemeClr val="tx1">
                  <a:lumMod val="85000"/>
                  <a:lumOff val="15000"/>
                  <a:alpha val="50000"/>
                </a:schemeClr>
              </a:solidFill>
              <a:latin typeface="汉仪正圆-55W" panose="00020600040101010101" pitchFamily="18" charset="-122"/>
              <a:ea typeface="汉仪正圆-55W" panose="00020600040101010101" pitchFamily="18" charset="-122"/>
              <a:cs typeface="Alibaba PuHuiTi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12" name="深度视觉·原创设计 https://www.docer.com/works?userid=22383862"/>
          <p:cNvSpPr/>
          <p:nvPr/>
        </p:nvSpPr>
        <p:spPr>
          <a:xfrm>
            <a:off x="6763658" y="2080208"/>
            <a:ext cx="4044338" cy="2604967"/>
          </a:xfrm>
          <a:custGeom>
            <a:avLst/>
            <a:gdLst>
              <a:gd name="connsiteX0" fmla="*/ 0 w 4044338"/>
              <a:gd name="connsiteY0" fmla="*/ 0 h 2604967"/>
              <a:gd name="connsiteX1" fmla="*/ 4044338 w 4044338"/>
              <a:gd name="connsiteY1" fmla="*/ 0 h 2604967"/>
              <a:gd name="connsiteX2" fmla="*/ 4044338 w 4044338"/>
              <a:gd name="connsiteY2" fmla="*/ 2604967 h 2604967"/>
              <a:gd name="connsiteX3" fmla="*/ 0 w 4044338"/>
              <a:gd name="connsiteY3" fmla="*/ 2604967 h 26049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44338" h="2604967">
                <a:moveTo>
                  <a:pt x="0" y="0"/>
                </a:moveTo>
                <a:lnTo>
                  <a:pt x="4044338" y="0"/>
                </a:lnTo>
                <a:lnTo>
                  <a:pt x="4044338" y="2604967"/>
                </a:lnTo>
                <a:lnTo>
                  <a:pt x="0" y="2604967"/>
                </a:lnTo>
                <a:close/>
              </a:path>
            </a:pathLst>
          </a:custGeom>
          <a:blipFill>
            <a:blip r:embed="rId1"/>
            <a:srcRect/>
            <a:stretch>
              <a:fillRect t="-1622" b="-1622"/>
            </a:stretch>
          </a:blip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/>
                <a:tailEnd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深度视觉·原创设计 https://www.docer.com/works?userid=22383862"/>
          <p:cNvSpPr/>
          <p:nvPr/>
        </p:nvSpPr>
        <p:spPr>
          <a:xfrm flipH="1">
            <a:off x="11252019" y="5989229"/>
            <a:ext cx="939981" cy="868771"/>
          </a:xfrm>
          <a:prstGeom prst="corner">
            <a:avLst>
              <a:gd name="adj1" fmla="val 17397"/>
              <a:gd name="adj2" fmla="val 16614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32" name="深度视觉·原创设计 https://www.docer.com/works?userid=22383862"/>
          <p:cNvSpPr/>
          <p:nvPr/>
        </p:nvSpPr>
        <p:spPr>
          <a:xfrm rot="10800000" flipH="1">
            <a:off x="0" y="0"/>
            <a:ext cx="939981" cy="868771"/>
          </a:xfrm>
          <a:prstGeom prst="corner">
            <a:avLst>
              <a:gd name="adj1" fmla="val 17397"/>
              <a:gd name="adj2" fmla="val 16614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33" name="深度视觉·原创设计 https://www.docer.com/works?userid=22383862"/>
          <p:cNvSpPr/>
          <p:nvPr/>
        </p:nvSpPr>
        <p:spPr>
          <a:xfrm>
            <a:off x="4535714" y="350796"/>
            <a:ext cx="3120572" cy="51797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34" name="深度视觉·原创设计 https://www.docer.com/works?userid=22383862"/>
          <p:cNvSpPr txBox="1"/>
          <p:nvPr/>
        </p:nvSpPr>
        <p:spPr>
          <a:xfrm>
            <a:off x="4966459" y="455895"/>
            <a:ext cx="2259081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2000" spc="300" dirty="0">
                <a:solidFill>
                  <a:schemeClr val="tx1">
                    <a:lumMod val="75000"/>
                    <a:lumOff val="25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cs typeface="Alibaba PuHuiTi" pitchFamily="18" charset="-122"/>
                <a:sym typeface="汉仪正圆-55W" panose="00020600040101010101" pitchFamily="18" charset="-122"/>
              </a:rPr>
              <a:t>输入您的标题</a:t>
            </a:r>
            <a:endParaRPr kumimoji="0" lang="zh-CN" altLang="en-US" sz="2000" i="0" u="none" strike="noStrike" kern="1200" cap="none" spc="30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汉仪正圆-55W" panose="00020600040101010101" pitchFamily="18" charset="-122"/>
              <a:ea typeface="汉仪正圆-55W" panose="00020600040101010101" pitchFamily="18" charset="-122"/>
              <a:cs typeface="Alibaba PuHuiTi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2" name="深度视觉·原创设计 https://www.docer.com/works?userid=22383862"/>
          <p:cNvSpPr/>
          <p:nvPr/>
        </p:nvSpPr>
        <p:spPr bwMode="auto">
          <a:xfrm>
            <a:off x="996778" y="2218275"/>
            <a:ext cx="2036274" cy="1781314"/>
          </a:xfrm>
          <a:custGeom>
            <a:avLst/>
            <a:gdLst>
              <a:gd name="T0" fmla="*/ 700 w 700"/>
              <a:gd name="T1" fmla="*/ 307 h 613"/>
              <a:gd name="T2" fmla="*/ 503 w 700"/>
              <a:gd name="T3" fmla="*/ 504 h 613"/>
              <a:gd name="T4" fmla="*/ 109 w 700"/>
              <a:gd name="T5" fmla="*/ 504 h 613"/>
              <a:gd name="T6" fmla="*/ 109 w 700"/>
              <a:gd name="T7" fmla="*/ 504 h 613"/>
              <a:gd name="T8" fmla="*/ 109 w 700"/>
              <a:gd name="T9" fmla="*/ 109 h 613"/>
              <a:gd name="T10" fmla="*/ 109 w 700"/>
              <a:gd name="T11" fmla="*/ 109 h 613"/>
              <a:gd name="T12" fmla="*/ 503 w 700"/>
              <a:gd name="T13" fmla="*/ 109 h 613"/>
              <a:gd name="T14" fmla="*/ 700 w 700"/>
              <a:gd name="T15" fmla="*/ 307 h 6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00" h="613">
                <a:moveTo>
                  <a:pt x="700" y="307"/>
                </a:moveTo>
                <a:cubicBezTo>
                  <a:pt x="503" y="504"/>
                  <a:pt x="503" y="504"/>
                  <a:pt x="503" y="504"/>
                </a:cubicBezTo>
                <a:cubicBezTo>
                  <a:pt x="394" y="613"/>
                  <a:pt x="218" y="613"/>
                  <a:pt x="109" y="504"/>
                </a:cubicBezTo>
                <a:cubicBezTo>
                  <a:pt x="109" y="504"/>
                  <a:pt x="109" y="504"/>
                  <a:pt x="109" y="504"/>
                </a:cubicBezTo>
                <a:cubicBezTo>
                  <a:pt x="0" y="395"/>
                  <a:pt x="0" y="218"/>
                  <a:pt x="109" y="109"/>
                </a:cubicBezTo>
                <a:cubicBezTo>
                  <a:pt x="109" y="109"/>
                  <a:pt x="109" y="109"/>
                  <a:pt x="109" y="109"/>
                </a:cubicBezTo>
                <a:cubicBezTo>
                  <a:pt x="218" y="0"/>
                  <a:pt x="394" y="0"/>
                  <a:pt x="503" y="109"/>
                </a:cubicBezTo>
                <a:lnTo>
                  <a:pt x="700" y="307"/>
                </a:lnTo>
                <a:close/>
              </a:path>
            </a:pathLst>
          </a:custGeom>
          <a:solidFill>
            <a:schemeClr val="accent2"/>
          </a:solidFill>
          <a:ln w="11113" cap="flat">
            <a:noFill/>
            <a:prstDash val="solid"/>
            <a:miter lim="800000"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>
              <a:solidFill>
                <a:schemeClr val="tx1">
                  <a:lumMod val="65000"/>
                  <a:lumOff val="35000"/>
                </a:schemeClr>
              </a:solidFill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3" name="深度视觉·原创设计 https://www.docer.com/works?userid=22383862"/>
          <p:cNvSpPr/>
          <p:nvPr/>
        </p:nvSpPr>
        <p:spPr bwMode="auto">
          <a:xfrm>
            <a:off x="996778" y="2218275"/>
            <a:ext cx="1781315" cy="1781314"/>
          </a:xfrm>
          <a:custGeom>
            <a:avLst/>
            <a:gdLst>
              <a:gd name="T0" fmla="*/ 503 w 612"/>
              <a:gd name="T1" fmla="*/ 504 h 613"/>
              <a:gd name="T2" fmla="*/ 503 w 612"/>
              <a:gd name="T3" fmla="*/ 504 h 613"/>
              <a:gd name="T4" fmla="*/ 109 w 612"/>
              <a:gd name="T5" fmla="*/ 504 h 613"/>
              <a:gd name="T6" fmla="*/ 109 w 612"/>
              <a:gd name="T7" fmla="*/ 504 h 613"/>
              <a:gd name="T8" fmla="*/ 109 w 612"/>
              <a:gd name="T9" fmla="*/ 109 h 613"/>
              <a:gd name="T10" fmla="*/ 109 w 612"/>
              <a:gd name="T11" fmla="*/ 109 h 613"/>
              <a:gd name="T12" fmla="*/ 503 w 612"/>
              <a:gd name="T13" fmla="*/ 109 h 613"/>
              <a:gd name="T14" fmla="*/ 503 w 612"/>
              <a:gd name="T15" fmla="*/ 109 h 613"/>
              <a:gd name="T16" fmla="*/ 503 w 612"/>
              <a:gd name="T17" fmla="*/ 504 h 6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612" h="613">
                <a:moveTo>
                  <a:pt x="503" y="504"/>
                </a:moveTo>
                <a:cubicBezTo>
                  <a:pt x="503" y="504"/>
                  <a:pt x="503" y="504"/>
                  <a:pt x="503" y="504"/>
                </a:cubicBezTo>
                <a:cubicBezTo>
                  <a:pt x="394" y="613"/>
                  <a:pt x="218" y="613"/>
                  <a:pt x="109" y="504"/>
                </a:cubicBezTo>
                <a:cubicBezTo>
                  <a:pt x="109" y="504"/>
                  <a:pt x="109" y="504"/>
                  <a:pt x="109" y="504"/>
                </a:cubicBezTo>
                <a:cubicBezTo>
                  <a:pt x="0" y="395"/>
                  <a:pt x="0" y="218"/>
                  <a:pt x="109" y="109"/>
                </a:cubicBezTo>
                <a:cubicBezTo>
                  <a:pt x="109" y="109"/>
                  <a:pt x="109" y="109"/>
                  <a:pt x="109" y="109"/>
                </a:cubicBezTo>
                <a:cubicBezTo>
                  <a:pt x="218" y="0"/>
                  <a:pt x="394" y="0"/>
                  <a:pt x="503" y="109"/>
                </a:cubicBezTo>
                <a:cubicBezTo>
                  <a:pt x="503" y="109"/>
                  <a:pt x="503" y="109"/>
                  <a:pt x="503" y="109"/>
                </a:cubicBezTo>
                <a:cubicBezTo>
                  <a:pt x="612" y="218"/>
                  <a:pt x="612" y="395"/>
                  <a:pt x="503" y="504"/>
                </a:cubicBezTo>
                <a:close/>
              </a:path>
            </a:pathLst>
          </a:custGeom>
          <a:solidFill>
            <a:schemeClr val="accent2"/>
          </a:solidFill>
          <a:ln w="11113" cap="flat">
            <a:noFill/>
            <a:prstDash val="solid"/>
            <a:miter lim="800000"/>
          </a:ln>
          <a:effectLst>
            <a:outerShdw blurRad="88900" dist="38100" dir="2700000" algn="tl" rotWithShape="0">
              <a:prstClr val="black">
                <a:alpha val="20000"/>
              </a:prstClr>
            </a:outerShdw>
          </a:effectLst>
        </p:spPr>
        <p:txBody>
          <a:bodyPr vert="horz" wrap="square" lIns="91440" tIns="45720" rIns="91440" bIns="45720" numCol="1" anchor="t" anchorCtr="0" compatLnSpc="1"/>
          <a:lstStyle/>
          <a:p>
            <a:endParaRPr lang="en-US">
              <a:solidFill>
                <a:schemeClr val="tx1">
                  <a:lumMod val="65000"/>
                  <a:lumOff val="35000"/>
                </a:schemeClr>
              </a:solidFill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4" name="深度视觉·原创设计 https://www.docer.com/works?userid=22383862"/>
          <p:cNvSpPr/>
          <p:nvPr/>
        </p:nvSpPr>
        <p:spPr bwMode="auto">
          <a:xfrm>
            <a:off x="1122557" y="2342355"/>
            <a:ext cx="1529756" cy="1533154"/>
          </a:xfrm>
          <a:custGeom>
            <a:avLst/>
            <a:gdLst>
              <a:gd name="T0" fmla="*/ 433 w 526"/>
              <a:gd name="T1" fmla="*/ 433 h 527"/>
              <a:gd name="T2" fmla="*/ 433 w 526"/>
              <a:gd name="T3" fmla="*/ 433 h 527"/>
              <a:gd name="T4" fmla="*/ 93 w 526"/>
              <a:gd name="T5" fmla="*/ 433 h 527"/>
              <a:gd name="T6" fmla="*/ 93 w 526"/>
              <a:gd name="T7" fmla="*/ 433 h 527"/>
              <a:gd name="T8" fmla="*/ 93 w 526"/>
              <a:gd name="T9" fmla="*/ 94 h 527"/>
              <a:gd name="T10" fmla="*/ 93 w 526"/>
              <a:gd name="T11" fmla="*/ 94 h 527"/>
              <a:gd name="T12" fmla="*/ 433 w 526"/>
              <a:gd name="T13" fmla="*/ 94 h 527"/>
              <a:gd name="T14" fmla="*/ 433 w 526"/>
              <a:gd name="T15" fmla="*/ 94 h 527"/>
              <a:gd name="T16" fmla="*/ 433 w 526"/>
              <a:gd name="T17" fmla="*/ 433 h 5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26" h="527">
                <a:moveTo>
                  <a:pt x="433" y="433"/>
                </a:moveTo>
                <a:cubicBezTo>
                  <a:pt x="433" y="433"/>
                  <a:pt x="433" y="433"/>
                  <a:pt x="433" y="433"/>
                </a:cubicBezTo>
                <a:cubicBezTo>
                  <a:pt x="339" y="527"/>
                  <a:pt x="187" y="527"/>
                  <a:pt x="93" y="433"/>
                </a:cubicBezTo>
                <a:cubicBezTo>
                  <a:pt x="93" y="433"/>
                  <a:pt x="93" y="433"/>
                  <a:pt x="93" y="433"/>
                </a:cubicBezTo>
                <a:cubicBezTo>
                  <a:pt x="0" y="339"/>
                  <a:pt x="0" y="188"/>
                  <a:pt x="93" y="94"/>
                </a:cubicBezTo>
                <a:cubicBezTo>
                  <a:pt x="93" y="94"/>
                  <a:pt x="93" y="94"/>
                  <a:pt x="93" y="94"/>
                </a:cubicBezTo>
                <a:cubicBezTo>
                  <a:pt x="187" y="0"/>
                  <a:pt x="339" y="0"/>
                  <a:pt x="433" y="94"/>
                </a:cubicBezTo>
                <a:cubicBezTo>
                  <a:pt x="433" y="94"/>
                  <a:pt x="433" y="94"/>
                  <a:pt x="433" y="94"/>
                </a:cubicBezTo>
                <a:cubicBezTo>
                  <a:pt x="526" y="188"/>
                  <a:pt x="526" y="339"/>
                  <a:pt x="433" y="433"/>
                </a:cubicBezTo>
                <a:close/>
              </a:path>
            </a:pathLst>
          </a:custGeom>
          <a:solidFill>
            <a:srgbClr val="FFFFFF"/>
          </a:solidFill>
          <a:ln w="11113" cap="flat">
            <a:noFill/>
            <a:prstDash val="solid"/>
            <a:miter lim="800000"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>
              <a:solidFill>
                <a:schemeClr val="tx1">
                  <a:lumMod val="65000"/>
                  <a:lumOff val="35000"/>
                </a:schemeClr>
              </a:solidFill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5" name="深度视觉·原创设计 https://www.docer.com/works?userid=22383862"/>
          <p:cNvSpPr/>
          <p:nvPr/>
        </p:nvSpPr>
        <p:spPr bwMode="auto">
          <a:xfrm>
            <a:off x="3099786" y="2218275"/>
            <a:ext cx="2039674" cy="1781314"/>
          </a:xfrm>
          <a:custGeom>
            <a:avLst/>
            <a:gdLst>
              <a:gd name="T0" fmla="*/ 701 w 701"/>
              <a:gd name="T1" fmla="*/ 307 h 613"/>
              <a:gd name="T2" fmla="*/ 504 w 701"/>
              <a:gd name="T3" fmla="*/ 504 h 613"/>
              <a:gd name="T4" fmla="*/ 109 w 701"/>
              <a:gd name="T5" fmla="*/ 504 h 613"/>
              <a:gd name="T6" fmla="*/ 109 w 701"/>
              <a:gd name="T7" fmla="*/ 504 h 613"/>
              <a:gd name="T8" fmla="*/ 109 w 701"/>
              <a:gd name="T9" fmla="*/ 109 h 613"/>
              <a:gd name="T10" fmla="*/ 109 w 701"/>
              <a:gd name="T11" fmla="*/ 109 h 613"/>
              <a:gd name="T12" fmla="*/ 504 w 701"/>
              <a:gd name="T13" fmla="*/ 109 h 613"/>
              <a:gd name="T14" fmla="*/ 701 w 701"/>
              <a:gd name="T15" fmla="*/ 307 h 6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01" h="613">
                <a:moveTo>
                  <a:pt x="701" y="307"/>
                </a:moveTo>
                <a:cubicBezTo>
                  <a:pt x="504" y="504"/>
                  <a:pt x="504" y="504"/>
                  <a:pt x="504" y="504"/>
                </a:cubicBezTo>
                <a:cubicBezTo>
                  <a:pt x="395" y="613"/>
                  <a:pt x="218" y="613"/>
                  <a:pt x="109" y="504"/>
                </a:cubicBezTo>
                <a:cubicBezTo>
                  <a:pt x="109" y="504"/>
                  <a:pt x="109" y="504"/>
                  <a:pt x="109" y="504"/>
                </a:cubicBezTo>
                <a:cubicBezTo>
                  <a:pt x="0" y="395"/>
                  <a:pt x="0" y="218"/>
                  <a:pt x="109" y="109"/>
                </a:cubicBezTo>
                <a:cubicBezTo>
                  <a:pt x="109" y="109"/>
                  <a:pt x="109" y="109"/>
                  <a:pt x="109" y="109"/>
                </a:cubicBezTo>
                <a:cubicBezTo>
                  <a:pt x="218" y="0"/>
                  <a:pt x="395" y="0"/>
                  <a:pt x="504" y="109"/>
                </a:cubicBezTo>
                <a:lnTo>
                  <a:pt x="701" y="307"/>
                </a:lnTo>
                <a:close/>
              </a:path>
            </a:pathLst>
          </a:custGeom>
          <a:solidFill>
            <a:schemeClr val="accent1"/>
          </a:solidFill>
          <a:ln w="11113" cap="flat">
            <a:noFill/>
            <a:prstDash val="solid"/>
            <a:miter lim="800000"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>
              <a:solidFill>
                <a:schemeClr val="tx1">
                  <a:lumMod val="65000"/>
                  <a:lumOff val="35000"/>
                </a:schemeClr>
              </a:solidFill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6" name="深度视觉·原创设计 https://www.docer.com/works?userid=22383862"/>
          <p:cNvSpPr/>
          <p:nvPr/>
        </p:nvSpPr>
        <p:spPr bwMode="auto">
          <a:xfrm>
            <a:off x="3099785" y="2218275"/>
            <a:ext cx="1783015" cy="1781314"/>
          </a:xfrm>
          <a:custGeom>
            <a:avLst/>
            <a:gdLst>
              <a:gd name="T0" fmla="*/ 504 w 613"/>
              <a:gd name="T1" fmla="*/ 504 h 613"/>
              <a:gd name="T2" fmla="*/ 504 w 613"/>
              <a:gd name="T3" fmla="*/ 504 h 613"/>
              <a:gd name="T4" fmla="*/ 109 w 613"/>
              <a:gd name="T5" fmla="*/ 504 h 613"/>
              <a:gd name="T6" fmla="*/ 109 w 613"/>
              <a:gd name="T7" fmla="*/ 504 h 613"/>
              <a:gd name="T8" fmla="*/ 109 w 613"/>
              <a:gd name="T9" fmla="*/ 109 h 613"/>
              <a:gd name="T10" fmla="*/ 109 w 613"/>
              <a:gd name="T11" fmla="*/ 109 h 613"/>
              <a:gd name="T12" fmla="*/ 504 w 613"/>
              <a:gd name="T13" fmla="*/ 109 h 613"/>
              <a:gd name="T14" fmla="*/ 504 w 613"/>
              <a:gd name="T15" fmla="*/ 109 h 613"/>
              <a:gd name="T16" fmla="*/ 504 w 613"/>
              <a:gd name="T17" fmla="*/ 504 h 6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613" h="613">
                <a:moveTo>
                  <a:pt x="504" y="504"/>
                </a:moveTo>
                <a:cubicBezTo>
                  <a:pt x="504" y="504"/>
                  <a:pt x="504" y="504"/>
                  <a:pt x="504" y="504"/>
                </a:cubicBezTo>
                <a:cubicBezTo>
                  <a:pt x="395" y="613"/>
                  <a:pt x="218" y="613"/>
                  <a:pt x="109" y="504"/>
                </a:cubicBezTo>
                <a:cubicBezTo>
                  <a:pt x="109" y="504"/>
                  <a:pt x="109" y="504"/>
                  <a:pt x="109" y="504"/>
                </a:cubicBezTo>
                <a:cubicBezTo>
                  <a:pt x="0" y="395"/>
                  <a:pt x="0" y="218"/>
                  <a:pt x="109" y="109"/>
                </a:cubicBezTo>
                <a:cubicBezTo>
                  <a:pt x="109" y="109"/>
                  <a:pt x="109" y="109"/>
                  <a:pt x="109" y="109"/>
                </a:cubicBezTo>
                <a:cubicBezTo>
                  <a:pt x="218" y="0"/>
                  <a:pt x="395" y="0"/>
                  <a:pt x="504" y="109"/>
                </a:cubicBezTo>
                <a:cubicBezTo>
                  <a:pt x="504" y="109"/>
                  <a:pt x="504" y="109"/>
                  <a:pt x="504" y="109"/>
                </a:cubicBezTo>
                <a:cubicBezTo>
                  <a:pt x="613" y="218"/>
                  <a:pt x="613" y="395"/>
                  <a:pt x="504" y="504"/>
                </a:cubicBezTo>
                <a:close/>
              </a:path>
            </a:pathLst>
          </a:custGeom>
          <a:solidFill>
            <a:schemeClr val="accent1"/>
          </a:solidFill>
          <a:ln w="11113" cap="flat">
            <a:noFill/>
            <a:prstDash val="solid"/>
            <a:miter lim="800000"/>
          </a:ln>
          <a:effectLst>
            <a:outerShdw blurRad="88900" dist="38100" dir="2700000" algn="tl" rotWithShape="0">
              <a:prstClr val="black">
                <a:alpha val="20000"/>
              </a:prstClr>
            </a:outerShdw>
          </a:effectLst>
        </p:spPr>
        <p:txBody>
          <a:bodyPr vert="horz" wrap="square" lIns="91440" tIns="45720" rIns="91440" bIns="45720" numCol="1" anchor="t" anchorCtr="0" compatLnSpc="1"/>
          <a:lstStyle/>
          <a:p>
            <a:endParaRPr lang="en-US">
              <a:solidFill>
                <a:schemeClr val="tx1">
                  <a:lumMod val="65000"/>
                  <a:lumOff val="35000"/>
                </a:schemeClr>
              </a:solidFill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7" name="深度视觉·原创设计 https://www.docer.com/works?userid=22383862"/>
          <p:cNvSpPr/>
          <p:nvPr/>
        </p:nvSpPr>
        <p:spPr bwMode="auto">
          <a:xfrm>
            <a:off x="3224715" y="2342355"/>
            <a:ext cx="1533155" cy="1533154"/>
          </a:xfrm>
          <a:custGeom>
            <a:avLst/>
            <a:gdLst>
              <a:gd name="T0" fmla="*/ 433 w 527"/>
              <a:gd name="T1" fmla="*/ 433 h 527"/>
              <a:gd name="T2" fmla="*/ 433 w 527"/>
              <a:gd name="T3" fmla="*/ 433 h 527"/>
              <a:gd name="T4" fmla="*/ 94 w 527"/>
              <a:gd name="T5" fmla="*/ 433 h 527"/>
              <a:gd name="T6" fmla="*/ 94 w 527"/>
              <a:gd name="T7" fmla="*/ 433 h 527"/>
              <a:gd name="T8" fmla="*/ 94 w 527"/>
              <a:gd name="T9" fmla="*/ 94 h 527"/>
              <a:gd name="T10" fmla="*/ 94 w 527"/>
              <a:gd name="T11" fmla="*/ 94 h 527"/>
              <a:gd name="T12" fmla="*/ 433 w 527"/>
              <a:gd name="T13" fmla="*/ 94 h 527"/>
              <a:gd name="T14" fmla="*/ 433 w 527"/>
              <a:gd name="T15" fmla="*/ 94 h 527"/>
              <a:gd name="T16" fmla="*/ 433 w 527"/>
              <a:gd name="T17" fmla="*/ 433 h 5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27" h="527">
                <a:moveTo>
                  <a:pt x="433" y="433"/>
                </a:moveTo>
                <a:cubicBezTo>
                  <a:pt x="433" y="433"/>
                  <a:pt x="433" y="433"/>
                  <a:pt x="433" y="433"/>
                </a:cubicBezTo>
                <a:cubicBezTo>
                  <a:pt x="339" y="527"/>
                  <a:pt x="188" y="527"/>
                  <a:pt x="94" y="433"/>
                </a:cubicBezTo>
                <a:cubicBezTo>
                  <a:pt x="94" y="433"/>
                  <a:pt x="94" y="433"/>
                  <a:pt x="94" y="433"/>
                </a:cubicBezTo>
                <a:cubicBezTo>
                  <a:pt x="0" y="339"/>
                  <a:pt x="0" y="188"/>
                  <a:pt x="94" y="94"/>
                </a:cubicBezTo>
                <a:cubicBezTo>
                  <a:pt x="94" y="94"/>
                  <a:pt x="94" y="94"/>
                  <a:pt x="94" y="94"/>
                </a:cubicBezTo>
                <a:cubicBezTo>
                  <a:pt x="188" y="0"/>
                  <a:pt x="339" y="0"/>
                  <a:pt x="433" y="94"/>
                </a:cubicBezTo>
                <a:cubicBezTo>
                  <a:pt x="433" y="94"/>
                  <a:pt x="433" y="94"/>
                  <a:pt x="433" y="94"/>
                </a:cubicBezTo>
                <a:cubicBezTo>
                  <a:pt x="527" y="188"/>
                  <a:pt x="527" y="339"/>
                  <a:pt x="433" y="433"/>
                </a:cubicBezTo>
                <a:close/>
              </a:path>
            </a:pathLst>
          </a:custGeom>
          <a:solidFill>
            <a:srgbClr val="FFFFFF"/>
          </a:solidFill>
          <a:ln w="11113" cap="flat">
            <a:noFill/>
            <a:prstDash val="solid"/>
            <a:miter lim="800000"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>
              <a:solidFill>
                <a:schemeClr val="tx1">
                  <a:lumMod val="65000"/>
                  <a:lumOff val="35000"/>
                </a:schemeClr>
              </a:solidFill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8" name="深度视觉·原创设计 https://www.docer.com/works?userid=22383862"/>
          <p:cNvSpPr/>
          <p:nvPr/>
        </p:nvSpPr>
        <p:spPr bwMode="auto">
          <a:xfrm>
            <a:off x="5206193" y="2218275"/>
            <a:ext cx="2036274" cy="1781314"/>
          </a:xfrm>
          <a:custGeom>
            <a:avLst/>
            <a:gdLst>
              <a:gd name="T0" fmla="*/ 700 w 700"/>
              <a:gd name="T1" fmla="*/ 307 h 613"/>
              <a:gd name="T2" fmla="*/ 503 w 700"/>
              <a:gd name="T3" fmla="*/ 504 h 613"/>
              <a:gd name="T4" fmla="*/ 109 w 700"/>
              <a:gd name="T5" fmla="*/ 504 h 613"/>
              <a:gd name="T6" fmla="*/ 109 w 700"/>
              <a:gd name="T7" fmla="*/ 504 h 613"/>
              <a:gd name="T8" fmla="*/ 109 w 700"/>
              <a:gd name="T9" fmla="*/ 109 h 613"/>
              <a:gd name="T10" fmla="*/ 109 w 700"/>
              <a:gd name="T11" fmla="*/ 109 h 613"/>
              <a:gd name="T12" fmla="*/ 503 w 700"/>
              <a:gd name="T13" fmla="*/ 109 h 613"/>
              <a:gd name="T14" fmla="*/ 700 w 700"/>
              <a:gd name="T15" fmla="*/ 307 h 6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00" h="613">
                <a:moveTo>
                  <a:pt x="700" y="307"/>
                </a:moveTo>
                <a:cubicBezTo>
                  <a:pt x="503" y="504"/>
                  <a:pt x="503" y="504"/>
                  <a:pt x="503" y="504"/>
                </a:cubicBezTo>
                <a:cubicBezTo>
                  <a:pt x="394" y="613"/>
                  <a:pt x="218" y="613"/>
                  <a:pt x="109" y="504"/>
                </a:cubicBezTo>
                <a:cubicBezTo>
                  <a:pt x="109" y="504"/>
                  <a:pt x="109" y="504"/>
                  <a:pt x="109" y="504"/>
                </a:cubicBezTo>
                <a:cubicBezTo>
                  <a:pt x="0" y="395"/>
                  <a:pt x="0" y="218"/>
                  <a:pt x="109" y="109"/>
                </a:cubicBezTo>
                <a:cubicBezTo>
                  <a:pt x="109" y="109"/>
                  <a:pt x="109" y="109"/>
                  <a:pt x="109" y="109"/>
                </a:cubicBezTo>
                <a:cubicBezTo>
                  <a:pt x="218" y="0"/>
                  <a:pt x="394" y="0"/>
                  <a:pt x="503" y="109"/>
                </a:cubicBezTo>
                <a:lnTo>
                  <a:pt x="700" y="307"/>
                </a:lnTo>
                <a:close/>
              </a:path>
            </a:pathLst>
          </a:custGeom>
          <a:solidFill>
            <a:schemeClr val="accent3"/>
          </a:solidFill>
          <a:ln w="11113" cap="flat">
            <a:noFill/>
            <a:prstDash val="solid"/>
            <a:miter lim="800000"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>
              <a:solidFill>
                <a:schemeClr val="tx1">
                  <a:lumMod val="65000"/>
                  <a:lumOff val="35000"/>
                </a:schemeClr>
              </a:solidFill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9" name="深度视觉·原创设计 https://www.docer.com/works?userid=22383862"/>
          <p:cNvSpPr/>
          <p:nvPr/>
        </p:nvSpPr>
        <p:spPr bwMode="auto">
          <a:xfrm>
            <a:off x="5206193" y="2218275"/>
            <a:ext cx="1781315" cy="1781314"/>
          </a:xfrm>
          <a:custGeom>
            <a:avLst/>
            <a:gdLst>
              <a:gd name="T0" fmla="*/ 503 w 612"/>
              <a:gd name="T1" fmla="*/ 504 h 613"/>
              <a:gd name="T2" fmla="*/ 503 w 612"/>
              <a:gd name="T3" fmla="*/ 504 h 613"/>
              <a:gd name="T4" fmla="*/ 109 w 612"/>
              <a:gd name="T5" fmla="*/ 504 h 613"/>
              <a:gd name="T6" fmla="*/ 109 w 612"/>
              <a:gd name="T7" fmla="*/ 504 h 613"/>
              <a:gd name="T8" fmla="*/ 109 w 612"/>
              <a:gd name="T9" fmla="*/ 109 h 613"/>
              <a:gd name="T10" fmla="*/ 109 w 612"/>
              <a:gd name="T11" fmla="*/ 109 h 613"/>
              <a:gd name="T12" fmla="*/ 503 w 612"/>
              <a:gd name="T13" fmla="*/ 109 h 613"/>
              <a:gd name="T14" fmla="*/ 503 w 612"/>
              <a:gd name="T15" fmla="*/ 109 h 613"/>
              <a:gd name="T16" fmla="*/ 503 w 612"/>
              <a:gd name="T17" fmla="*/ 504 h 6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612" h="613">
                <a:moveTo>
                  <a:pt x="503" y="504"/>
                </a:moveTo>
                <a:cubicBezTo>
                  <a:pt x="503" y="504"/>
                  <a:pt x="503" y="504"/>
                  <a:pt x="503" y="504"/>
                </a:cubicBezTo>
                <a:cubicBezTo>
                  <a:pt x="394" y="613"/>
                  <a:pt x="218" y="613"/>
                  <a:pt x="109" y="504"/>
                </a:cubicBezTo>
                <a:cubicBezTo>
                  <a:pt x="109" y="504"/>
                  <a:pt x="109" y="504"/>
                  <a:pt x="109" y="504"/>
                </a:cubicBezTo>
                <a:cubicBezTo>
                  <a:pt x="0" y="395"/>
                  <a:pt x="0" y="218"/>
                  <a:pt x="109" y="109"/>
                </a:cubicBezTo>
                <a:cubicBezTo>
                  <a:pt x="109" y="109"/>
                  <a:pt x="109" y="109"/>
                  <a:pt x="109" y="109"/>
                </a:cubicBezTo>
                <a:cubicBezTo>
                  <a:pt x="218" y="0"/>
                  <a:pt x="394" y="0"/>
                  <a:pt x="503" y="109"/>
                </a:cubicBezTo>
                <a:cubicBezTo>
                  <a:pt x="503" y="109"/>
                  <a:pt x="503" y="109"/>
                  <a:pt x="503" y="109"/>
                </a:cubicBezTo>
                <a:cubicBezTo>
                  <a:pt x="612" y="218"/>
                  <a:pt x="612" y="395"/>
                  <a:pt x="503" y="504"/>
                </a:cubicBezTo>
                <a:close/>
              </a:path>
            </a:pathLst>
          </a:custGeom>
          <a:solidFill>
            <a:schemeClr val="accent3"/>
          </a:solidFill>
          <a:ln w="11113" cap="flat">
            <a:noFill/>
            <a:prstDash val="solid"/>
            <a:miter lim="800000"/>
          </a:ln>
          <a:effectLst>
            <a:outerShdw blurRad="88900" dist="38100" dir="2700000" algn="tl" rotWithShape="0">
              <a:prstClr val="black">
                <a:alpha val="20000"/>
              </a:prstClr>
            </a:outerShdw>
          </a:effectLst>
        </p:spPr>
        <p:txBody>
          <a:bodyPr vert="horz" wrap="square" lIns="91440" tIns="45720" rIns="91440" bIns="45720" numCol="1" anchor="t" anchorCtr="0" compatLnSpc="1"/>
          <a:lstStyle/>
          <a:p>
            <a:endParaRPr lang="en-US">
              <a:solidFill>
                <a:schemeClr val="tx1">
                  <a:lumMod val="65000"/>
                  <a:lumOff val="35000"/>
                </a:schemeClr>
              </a:solidFill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10" name="深度视觉·原创设计 https://www.docer.com/works?userid=22383862"/>
          <p:cNvSpPr/>
          <p:nvPr/>
        </p:nvSpPr>
        <p:spPr bwMode="auto">
          <a:xfrm>
            <a:off x="5331972" y="2342355"/>
            <a:ext cx="1529756" cy="1533154"/>
          </a:xfrm>
          <a:custGeom>
            <a:avLst/>
            <a:gdLst>
              <a:gd name="T0" fmla="*/ 433 w 526"/>
              <a:gd name="T1" fmla="*/ 433 h 527"/>
              <a:gd name="T2" fmla="*/ 433 w 526"/>
              <a:gd name="T3" fmla="*/ 433 h 527"/>
              <a:gd name="T4" fmla="*/ 93 w 526"/>
              <a:gd name="T5" fmla="*/ 433 h 527"/>
              <a:gd name="T6" fmla="*/ 93 w 526"/>
              <a:gd name="T7" fmla="*/ 433 h 527"/>
              <a:gd name="T8" fmla="*/ 93 w 526"/>
              <a:gd name="T9" fmla="*/ 94 h 527"/>
              <a:gd name="T10" fmla="*/ 93 w 526"/>
              <a:gd name="T11" fmla="*/ 94 h 527"/>
              <a:gd name="T12" fmla="*/ 433 w 526"/>
              <a:gd name="T13" fmla="*/ 94 h 527"/>
              <a:gd name="T14" fmla="*/ 433 w 526"/>
              <a:gd name="T15" fmla="*/ 94 h 527"/>
              <a:gd name="T16" fmla="*/ 433 w 526"/>
              <a:gd name="T17" fmla="*/ 433 h 5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26" h="527">
                <a:moveTo>
                  <a:pt x="433" y="433"/>
                </a:moveTo>
                <a:cubicBezTo>
                  <a:pt x="433" y="433"/>
                  <a:pt x="433" y="433"/>
                  <a:pt x="433" y="433"/>
                </a:cubicBezTo>
                <a:cubicBezTo>
                  <a:pt x="339" y="527"/>
                  <a:pt x="187" y="527"/>
                  <a:pt x="93" y="433"/>
                </a:cubicBezTo>
                <a:cubicBezTo>
                  <a:pt x="93" y="433"/>
                  <a:pt x="93" y="433"/>
                  <a:pt x="93" y="433"/>
                </a:cubicBezTo>
                <a:cubicBezTo>
                  <a:pt x="0" y="339"/>
                  <a:pt x="0" y="188"/>
                  <a:pt x="93" y="94"/>
                </a:cubicBezTo>
                <a:cubicBezTo>
                  <a:pt x="93" y="94"/>
                  <a:pt x="93" y="94"/>
                  <a:pt x="93" y="94"/>
                </a:cubicBezTo>
                <a:cubicBezTo>
                  <a:pt x="187" y="0"/>
                  <a:pt x="339" y="0"/>
                  <a:pt x="433" y="94"/>
                </a:cubicBezTo>
                <a:cubicBezTo>
                  <a:pt x="433" y="94"/>
                  <a:pt x="433" y="94"/>
                  <a:pt x="433" y="94"/>
                </a:cubicBezTo>
                <a:cubicBezTo>
                  <a:pt x="526" y="188"/>
                  <a:pt x="526" y="339"/>
                  <a:pt x="433" y="433"/>
                </a:cubicBezTo>
                <a:close/>
              </a:path>
            </a:pathLst>
          </a:custGeom>
          <a:solidFill>
            <a:srgbClr val="FFFFFF"/>
          </a:solidFill>
          <a:ln w="11113" cap="flat">
            <a:noFill/>
            <a:prstDash val="solid"/>
            <a:miter lim="800000"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>
              <a:solidFill>
                <a:schemeClr val="tx1">
                  <a:lumMod val="65000"/>
                  <a:lumOff val="35000"/>
                </a:schemeClr>
              </a:solidFill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11" name="深度视觉·原创设计 https://www.docer.com/works?userid=22383862"/>
          <p:cNvSpPr/>
          <p:nvPr/>
        </p:nvSpPr>
        <p:spPr bwMode="auto">
          <a:xfrm>
            <a:off x="7309200" y="2218275"/>
            <a:ext cx="2037974" cy="1781314"/>
          </a:xfrm>
          <a:custGeom>
            <a:avLst/>
            <a:gdLst>
              <a:gd name="T0" fmla="*/ 701 w 701"/>
              <a:gd name="T1" fmla="*/ 307 h 613"/>
              <a:gd name="T2" fmla="*/ 504 w 701"/>
              <a:gd name="T3" fmla="*/ 504 h 613"/>
              <a:gd name="T4" fmla="*/ 109 w 701"/>
              <a:gd name="T5" fmla="*/ 504 h 613"/>
              <a:gd name="T6" fmla="*/ 109 w 701"/>
              <a:gd name="T7" fmla="*/ 504 h 613"/>
              <a:gd name="T8" fmla="*/ 109 w 701"/>
              <a:gd name="T9" fmla="*/ 109 h 613"/>
              <a:gd name="T10" fmla="*/ 109 w 701"/>
              <a:gd name="T11" fmla="*/ 109 h 613"/>
              <a:gd name="T12" fmla="*/ 504 w 701"/>
              <a:gd name="T13" fmla="*/ 109 h 613"/>
              <a:gd name="T14" fmla="*/ 701 w 701"/>
              <a:gd name="T15" fmla="*/ 307 h 6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01" h="613">
                <a:moveTo>
                  <a:pt x="701" y="307"/>
                </a:moveTo>
                <a:cubicBezTo>
                  <a:pt x="504" y="504"/>
                  <a:pt x="504" y="504"/>
                  <a:pt x="504" y="504"/>
                </a:cubicBezTo>
                <a:cubicBezTo>
                  <a:pt x="395" y="613"/>
                  <a:pt x="218" y="613"/>
                  <a:pt x="109" y="504"/>
                </a:cubicBezTo>
                <a:cubicBezTo>
                  <a:pt x="109" y="504"/>
                  <a:pt x="109" y="504"/>
                  <a:pt x="109" y="504"/>
                </a:cubicBezTo>
                <a:cubicBezTo>
                  <a:pt x="0" y="395"/>
                  <a:pt x="0" y="218"/>
                  <a:pt x="109" y="109"/>
                </a:cubicBezTo>
                <a:cubicBezTo>
                  <a:pt x="109" y="109"/>
                  <a:pt x="109" y="109"/>
                  <a:pt x="109" y="109"/>
                </a:cubicBezTo>
                <a:cubicBezTo>
                  <a:pt x="218" y="0"/>
                  <a:pt x="395" y="0"/>
                  <a:pt x="504" y="109"/>
                </a:cubicBezTo>
                <a:lnTo>
                  <a:pt x="701" y="307"/>
                </a:lnTo>
                <a:close/>
              </a:path>
            </a:pathLst>
          </a:custGeom>
          <a:solidFill>
            <a:schemeClr val="accent1"/>
          </a:solidFill>
          <a:ln w="11113" cap="flat">
            <a:noFill/>
            <a:prstDash val="solid"/>
            <a:miter lim="800000"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>
              <a:solidFill>
                <a:schemeClr val="tx1">
                  <a:lumMod val="65000"/>
                  <a:lumOff val="35000"/>
                </a:schemeClr>
              </a:solidFill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12" name="深度视觉·原创设计 https://www.docer.com/works?userid=22383862"/>
          <p:cNvSpPr/>
          <p:nvPr/>
        </p:nvSpPr>
        <p:spPr bwMode="auto">
          <a:xfrm>
            <a:off x="7309200" y="2218275"/>
            <a:ext cx="1779615" cy="1781314"/>
          </a:xfrm>
          <a:custGeom>
            <a:avLst/>
            <a:gdLst>
              <a:gd name="T0" fmla="*/ 504 w 612"/>
              <a:gd name="T1" fmla="*/ 504 h 613"/>
              <a:gd name="T2" fmla="*/ 504 w 612"/>
              <a:gd name="T3" fmla="*/ 504 h 613"/>
              <a:gd name="T4" fmla="*/ 109 w 612"/>
              <a:gd name="T5" fmla="*/ 504 h 613"/>
              <a:gd name="T6" fmla="*/ 109 w 612"/>
              <a:gd name="T7" fmla="*/ 504 h 613"/>
              <a:gd name="T8" fmla="*/ 109 w 612"/>
              <a:gd name="T9" fmla="*/ 109 h 613"/>
              <a:gd name="T10" fmla="*/ 109 w 612"/>
              <a:gd name="T11" fmla="*/ 109 h 613"/>
              <a:gd name="T12" fmla="*/ 504 w 612"/>
              <a:gd name="T13" fmla="*/ 109 h 613"/>
              <a:gd name="T14" fmla="*/ 504 w 612"/>
              <a:gd name="T15" fmla="*/ 109 h 613"/>
              <a:gd name="T16" fmla="*/ 504 w 612"/>
              <a:gd name="T17" fmla="*/ 504 h 6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612" h="613">
                <a:moveTo>
                  <a:pt x="504" y="504"/>
                </a:moveTo>
                <a:cubicBezTo>
                  <a:pt x="504" y="504"/>
                  <a:pt x="504" y="504"/>
                  <a:pt x="504" y="504"/>
                </a:cubicBezTo>
                <a:cubicBezTo>
                  <a:pt x="395" y="613"/>
                  <a:pt x="218" y="613"/>
                  <a:pt x="109" y="504"/>
                </a:cubicBezTo>
                <a:cubicBezTo>
                  <a:pt x="109" y="504"/>
                  <a:pt x="109" y="504"/>
                  <a:pt x="109" y="504"/>
                </a:cubicBezTo>
                <a:cubicBezTo>
                  <a:pt x="0" y="395"/>
                  <a:pt x="0" y="218"/>
                  <a:pt x="109" y="109"/>
                </a:cubicBezTo>
                <a:cubicBezTo>
                  <a:pt x="109" y="109"/>
                  <a:pt x="109" y="109"/>
                  <a:pt x="109" y="109"/>
                </a:cubicBezTo>
                <a:cubicBezTo>
                  <a:pt x="218" y="0"/>
                  <a:pt x="395" y="0"/>
                  <a:pt x="504" y="109"/>
                </a:cubicBezTo>
                <a:cubicBezTo>
                  <a:pt x="504" y="109"/>
                  <a:pt x="504" y="109"/>
                  <a:pt x="504" y="109"/>
                </a:cubicBezTo>
                <a:cubicBezTo>
                  <a:pt x="612" y="218"/>
                  <a:pt x="612" y="395"/>
                  <a:pt x="504" y="504"/>
                </a:cubicBezTo>
                <a:close/>
              </a:path>
            </a:pathLst>
          </a:custGeom>
          <a:solidFill>
            <a:schemeClr val="accent1"/>
          </a:solidFill>
          <a:ln w="11113" cap="flat">
            <a:noFill/>
            <a:prstDash val="solid"/>
            <a:miter lim="800000"/>
          </a:ln>
          <a:effectLst>
            <a:outerShdw blurRad="88900" dist="38100" dir="2700000" algn="tl" rotWithShape="0">
              <a:prstClr val="black">
                <a:alpha val="20000"/>
              </a:prstClr>
            </a:outerShdw>
          </a:effectLst>
        </p:spPr>
        <p:txBody>
          <a:bodyPr vert="horz" wrap="square" lIns="91440" tIns="45720" rIns="91440" bIns="45720" numCol="1" anchor="t" anchorCtr="0" compatLnSpc="1"/>
          <a:lstStyle/>
          <a:p>
            <a:endParaRPr lang="en-US">
              <a:solidFill>
                <a:schemeClr val="tx1">
                  <a:lumMod val="65000"/>
                  <a:lumOff val="35000"/>
                </a:schemeClr>
              </a:solidFill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13" name="深度视觉·原创设计 https://www.docer.com/works?userid=22383862"/>
          <p:cNvSpPr/>
          <p:nvPr/>
        </p:nvSpPr>
        <p:spPr bwMode="auto">
          <a:xfrm>
            <a:off x="7432430" y="2342355"/>
            <a:ext cx="1533155" cy="1533154"/>
          </a:xfrm>
          <a:custGeom>
            <a:avLst/>
            <a:gdLst>
              <a:gd name="T0" fmla="*/ 433 w 527"/>
              <a:gd name="T1" fmla="*/ 433 h 527"/>
              <a:gd name="T2" fmla="*/ 433 w 527"/>
              <a:gd name="T3" fmla="*/ 433 h 527"/>
              <a:gd name="T4" fmla="*/ 94 w 527"/>
              <a:gd name="T5" fmla="*/ 433 h 527"/>
              <a:gd name="T6" fmla="*/ 94 w 527"/>
              <a:gd name="T7" fmla="*/ 433 h 527"/>
              <a:gd name="T8" fmla="*/ 94 w 527"/>
              <a:gd name="T9" fmla="*/ 94 h 527"/>
              <a:gd name="T10" fmla="*/ 94 w 527"/>
              <a:gd name="T11" fmla="*/ 94 h 527"/>
              <a:gd name="T12" fmla="*/ 433 w 527"/>
              <a:gd name="T13" fmla="*/ 94 h 527"/>
              <a:gd name="T14" fmla="*/ 433 w 527"/>
              <a:gd name="T15" fmla="*/ 94 h 527"/>
              <a:gd name="T16" fmla="*/ 433 w 527"/>
              <a:gd name="T17" fmla="*/ 433 h 5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27" h="527">
                <a:moveTo>
                  <a:pt x="433" y="433"/>
                </a:moveTo>
                <a:cubicBezTo>
                  <a:pt x="433" y="433"/>
                  <a:pt x="433" y="433"/>
                  <a:pt x="433" y="433"/>
                </a:cubicBezTo>
                <a:cubicBezTo>
                  <a:pt x="339" y="527"/>
                  <a:pt x="187" y="527"/>
                  <a:pt x="94" y="433"/>
                </a:cubicBezTo>
                <a:cubicBezTo>
                  <a:pt x="94" y="433"/>
                  <a:pt x="94" y="433"/>
                  <a:pt x="94" y="433"/>
                </a:cubicBezTo>
                <a:cubicBezTo>
                  <a:pt x="0" y="339"/>
                  <a:pt x="0" y="188"/>
                  <a:pt x="94" y="94"/>
                </a:cubicBezTo>
                <a:cubicBezTo>
                  <a:pt x="94" y="94"/>
                  <a:pt x="94" y="94"/>
                  <a:pt x="94" y="94"/>
                </a:cubicBezTo>
                <a:cubicBezTo>
                  <a:pt x="187" y="0"/>
                  <a:pt x="339" y="0"/>
                  <a:pt x="433" y="94"/>
                </a:cubicBezTo>
                <a:cubicBezTo>
                  <a:pt x="433" y="94"/>
                  <a:pt x="433" y="94"/>
                  <a:pt x="433" y="94"/>
                </a:cubicBezTo>
                <a:cubicBezTo>
                  <a:pt x="527" y="188"/>
                  <a:pt x="527" y="339"/>
                  <a:pt x="433" y="433"/>
                </a:cubicBezTo>
                <a:close/>
              </a:path>
            </a:pathLst>
          </a:custGeom>
          <a:solidFill>
            <a:srgbClr val="FFFFFF"/>
          </a:solidFill>
          <a:ln w="11113" cap="flat">
            <a:noFill/>
            <a:prstDash val="solid"/>
            <a:miter lim="800000"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>
              <a:solidFill>
                <a:schemeClr val="tx1">
                  <a:lumMod val="65000"/>
                  <a:lumOff val="35000"/>
                </a:schemeClr>
              </a:solidFill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14" name="深度视觉·原创设计 https://www.docer.com/works?userid=22383862"/>
          <p:cNvSpPr/>
          <p:nvPr/>
        </p:nvSpPr>
        <p:spPr bwMode="auto">
          <a:xfrm>
            <a:off x="9413907" y="2218275"/>
            <a:ext cx="1781315" cy="1781314"/>
          </a:xfrm>
          <a:custGeom>
            <a:avLst/>
            <a:gdLst>
              <a:gd name="T0" fmla="*/ 503 w 612"/>
              <a:gd name="T1" fmla="*/ 504 h 613"/>
              <a:gd name="T2" fmla="*/ 503 w 612"/>
              <a:gd name="T3" fmla="*/ 504 h 613"/>
              <a:gd name="T4" fmla="*/ 109 w 612"/>
              <a:gd name="T5" fmla="*/ 504 h 613"/>
              <a:gd name="T6" fmla="*/ 109 w 612"/>
              <a:gd name="T7" fmla="*/ 504 h 613"/>
              <a:gd name="T8" fmla="*/ 109 w 612"/>
              <a:gd name="T9" fmla="*/ 109 h 613"/>
              <a:gd name="T10" fmla="*/ 109 w 612"/>
              <a:gd name="T11" fmla="*/ 109 h 613"/>
              <a:gd name="T12" fmla="*/ 503 w 612"/>
              <a:gd name="T13" fmla="*/ 109 h 613"/>
              <a:gd name="T14" fmla="*/ 503 w 612"/>
              <a:gd name="T15" fmla="*/ 109 h 613"/>
              <a:gd name="T16" fmla="*/ 503 w 612"/>
              <a:gd name="T17" fmla="*/ 504 h 6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612" h="613">
                <a:moveTo>
                  <a:pt x="503" y="504"/>
                </a:moveTo>
                <a:cubicBezTo>
                  <a:pt x="503" y="504"/>
                  <a:pt x="503" y="504"/>
                  <a:pt x="503" y="504"/>
                </a:cubicBezTo>
                <a:cubicBezTo>
                  <a:pt x="394" y="613"/>
                  <a:pt x="218" y="613"/>
                  <a:pt x="109" y="504"/>
                </a:cubicBezTo>
                <a:cubicBezTo>
                  <a:pt x="109" y="504"/>
                  <a:pt x="109" y="504"/>
                  <a:pt x="109" y="504"/>
                </a:cubicBezTo>
                <a:cubicBezTo>
                  <a:pt x="0" y="395"/>
                  <a:pt x="0" y="218"/>
                  <a:pt x="109" y="109"/>
                </a:cubicBezTo>
                <a:cubicBezTo>
                  <a:pt x="109" y="109"/>
                  <a:pt x="109" y="109"/>
                  <a:pt x="109" y="109"/>
                </a:cubicBezTo>
                <a:cubicBezTo>
                  <a:pt x="218" y="0"/>
                  <a:pt x="394" y="0"/>
                  <a:pt x="503" y="109"/>
                </a:cubicBezTo>
                <a:cubicBezTo>
                  <a:pt x="503" y="109"/>
                  <a:pt x="503" y="109"/>
                  <a:pt x="503" y="109"/>
                </a:cubicBezTo>
                <a:cubicBezTo>
                  <a:pt x="612" y="218"/>
                  <a:pt x="612" y="395"/>
                  <a:pt x="503" y="504"/>
                </a:cubicBezTo>
                <a:close/>
              </a:path>
            </a:pathLst>
          </a:custGeom>
          <a:solidFill>
            <a:schemeClr val="accent2"/>
          </a:solidFill>
          <a:ln w="11113" cap="flat">
            <a:noFill/>
            <a:prstDash val="solid"/>
            <a:miter lim="800000"/>
          </a:ln>
          <a:effectLst>
            <a:outerShdw blurRad="88900" dist="38100" dir="2700000" algn="tl" rotWithShape="0">
              <a:prstClr val="black">
                <a:alpha val="20000"/>
              </a:prstClr>
            </a:outerShdw>
          </a:effectLst>
        </p:spPr>
        <p:txBody>
          <a:bodyPr vert="horz" wrap="square" lIns="91440" tIns="45720" rIns="91440" bIns="45720" numCol="1" anchor="t" anchorCtr="0" compatLnSpc="1"/>
          <a:lstStyle/>
          <a:p>
            <a:endParaRPr lang="en-US">
              <a:solidFill>
                <a:schemeClr val="tx1">
                  <a:lumMod val="65000"/>
                  <a:lumOff val="35000"/>
                </a:schemeClr>
              </a:solidFill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15" name="深度视觉·原创设计 https://www.docer.com/works?userid=22383862"/>
          <p:cNvSpPr/>
          <p:nvPr/>
        </p:nvSpPr>
        <p:spPr bwMode="auto">
          <a:xfrm>
            <a:off x="9539686" y="2342355"/>
            <a:ext cx="1529756" cy="1533154"/>
          </a:xfrm>
          <a:custGeom>
            <a:avLst/>
            <a:gdLst>
              <a:gd name="T0" fmla="*/ 433 w 526"/>
              <a:gd name="T1" fmla="*/ 433 h 527"/>
              <a:gd name="T2" fmla="*/ 433 w 526"/>
              <a:gd name="T3" fmla="*/ 433 h 527"/>
              <a:gd name="T4" fmla="*/ 93 w 526"/>
              <a:gd name="T5" fmla="*/ 433 h 527"/>
              <a:gd name="T6" fmla="*/ 93 w 526"/>
              <a:gd name="T7" fmla="*/ 433 h 527"/>
              <a:gd name="T8" fmla="*/ 93 w 526"/>
              <a:gd name="T9" fmla="*/ 94 h 527"/>
              <a:gd name="T10" fmla="*/ 93 w 526"/>
              <a:gd name="T11" fmla="*/ 94 h 527"/>
              <a:gd name="T12" fmla="*/ 433 w 526"/>
              <a:gd name="T13" fmla="*/ 94 h 527"/>
              <a:gd name="T14" fmla="*/ 433 w 526"/>
              <a:gd name="T15" fmla="*/ 94 h 527"/>
              <a:gd name="T16" fmla="*/ 433 w 526"/>
              <a:gd name="T17" fmla="*/ 433 h 5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26" h="527">
                <a:moveTo>
                  <a:pt x="433" y="433"/>
                </a:moveTo>
                <a:cubicBezTo>
                  <a:pt x="433" y="433"/>
                  <a:pt x="433" y="433"/>
                  <a:pt x="433" y="433"/>
                </a:cubicBezTo>
                <a:cubicBezTo>
                  <a:pt x="339" y="527"/>
                  <a:pt x="187" y="527"/>
                  <a:pt x="93" y="433"/>
                </a:cubicBezTo>
                <a:cubicBezTo>
                  <a:pt x="93" y="433"/>
                  <a:pt x="93" y="433"/>
                  <a:pt x="93" y="433"/>
                </a:cubicBezTo>
                <a:cubicBezTo>
                  <a:pt x="0" y="339"/>
                  <a:pt x="0" y="188"/>
                  <a:pt x="93" y="94"/>
                </a:cubicBezTo>
                <a:cubicBezTo>
                  <a:pt x="93" y="94"/>
                  <a:pt x="93" y="94"/>
                  <a:pt x="93" y="94"/>
                </a:cubicBezTo>
                <a:cubicBezTo>
                  <a:pt x="187" y="0"/>
                  <a:pt x="339" y="0"/>
                  <a:pt x="433" y="94"/>
                </a:cubicBezTo>
                <a:cubicBezTo>
                  <a:pt x="433" y="94"/>
                  <a:pt x="433" y="94"/>
                  <a:pt x="433" y="94"/>
                </a:cubicBezTo>
                <a:cubicBezTo>
                  <a:pt x="526" y="188"/>
                  <a:pt x="526" y="339"/>
                  <a:pt x="433" y="433"/>
                </a:cubicBezTo>
                <a:close/>
              </a:path>
            </a:pathLst>
          </a:custGeom>
          <a:solidFill>
            <a:srgbClr val="FFFFFF"/>
          </a:solidFill>
          <a:ln w="11113" cap="flat">
            <a:noFill/>
            <a:prstDash val="solid"/>
            <a:miter lim="800000"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>
              <a:solidFill>
                <a:schemeClr val="tx1">
                  <a:lumMod val="65000"/>
                  <a:lumOff val="35000"/>
                </a:schemeClr>
              </a:solidFill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16" name="深度视觉·原创设计 https://www.docer.com/works?userid=22383862"/>
          <p:cNvSpPr/>
          <p:nvPr/>
        </p:nvSpPr>
        <p:spPr>
          <a:xfrm>
            <a:off x="1341364" y="2940339"/>
            <a:ext cx="1092141" cy="3371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600" b="1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汉仪正圆-55W" panose="00020600040101010101" pitchFamily="18" charset="-122"/>
                <a:ea typeface="汉仪正圆-55W" panose="00020600040101010101" pitchFamily="18" charset="-122"/>
                <a:cs typeface="Open Sans" pitchFamily="34" charset="0"/>
                <a:sym typeface="汉仪正圆-55W" panose="00020600040101010101" pitchFamily="18" charset="-122"/>
              </a:rPr>
              <a:t>添加标题</a:t>
            </a:r>
            <a:endParaRPr kumimoji="0" lang="zh-CN" altLang="en-US" sz="16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汉仪正圆-55W" panose="00020600040101010101" pitchFamily="18" charset="-122"/>
              <a:ea typeface="汉仪正圆-55W" panose="00020600040101010101" pitchFamily="18" charset="-122"/>
              <a:cs typeface="Open Sans" pitchFamily="34" charset="0"/>
              <a:sym typeface="汉仪正圆-55W" panose="00020600040101010101" pitchFamily="18" charset="-122"/>
            </a:endParaRPr>
          </a:p>
        </p:txBody>
      </p:sp>
      <p:sp>
        <p:nvSpPr>
          <p:cNvPr id="17" name="深度视觉·原创设计 https://www.docer.com/works?userid=22383862"/>
          <p:cNvSpPr/>
          <p:nvPr/>
        </p:nvSpPr>
        <p:spPr>
          <a:xfrm>
            <a:off x="3445221" y="2940339"/>
            <a:ext cx="1092141" cy="3371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600" b="1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汉仪正圆-55W" panose="00020600040101010101" pitchFamily="18" charset="-122"/>
                <a:ea typeface="汉仪正圆-55W" panose="00020600040101010101" pitchFamily="18" charset="-122"/>
                <a:cs typeface="Open Sans" pitchFamily="34" charset="0"/>
                <a:sym typeface="汉仪正圆-55W" panose="00020600040101010101" pitchFamily="18" charset="-122"/>
              </a:rPr>
              <a:t>添加标题</a:t>
            </a:r>
            <a:endParaRPr kumimoji="0" lang="zh-CN" altLang="en-US" sz="16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汉仪正圆-55W" panose="00020600040101010101" pitchFamily="18" charset="-122"/>
              <a:ea typeface="汉仪正圆-55W" panose="00020600040101010101" pitchFamily="18" charset="-122"/>
              <a:cs typeface="Open Sans" pitchFamily="34" charset="0"/>
              <a:sym typeface="汉仪正圆-55W" panose="00020600040101010101" pitchFamily="18" charset="-122"/>
            </a:endParaRPr>
          </a:p>
        </p:txBody>
      </p:sp>
      <p:sp>
        <p:nvSpPr>
          <p:cNvPr id="18" name="深度视觉·原创设计 https://www.docer.com/works?userid=22383862"/>
          <p:cNvSpPr/>
          <p:nvPr/>
        </p:nvSpPr>
        <p:spPr>
          <a:xfrm>
            <a:off x="5549929" y="2940339"/>
            <a:ext cx="1092141" cy="3371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600" b="1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汉仪正圆-55W" panose="00020600040101010101" pitchFamily="18" charset="-122"/>
                <a:ea typeface="汉仪正圆-55W" panose="00020600040101010101" pitchFamily="18" charset="-122"/>
                <a:cs typeface="Open Sans" pitchFamily="34" charset="0"/>
                <a:sym typeface="汉仪正圆-55W" panose="00020600040101010101" pitchFamily="18" charset="-122"/>
              </a:rPr>
              <a:t>添加标题</a:t>
            </a:r>
            <a:endParaRPr kumimoji="0" lang="zh-CN" altLang="en-US" sz="16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汉仪正圆-55W" panose="00020600040101010101" pitchFamily="18" charset="-122"/>
              <a:ea typeface="汉仪正圆-55W" panose="00020600040101010101" pitchFamily="18" charset="-122"/>
              <a:cs typeface="Open Sans" pitchFamily="34" charset="0"/>
              <a:sym typeface="汉仪正圆-55W" panose="00020600040101010101" pitchFamily="18" charset="-122"/>
            </a:endParaRPr>
          </a:p>
        </p:txBody>
      </p:sp>
      <p:sp>
        <p:nvSpPr>
          <p:cNvPr id="19" name="深度视觉·原创设计 https://www.docer.com/works?userid=22383862"/>
          <p:cNvSpPr/>
          <p:nvPr/>
        </p:nvSpPr>
        <p:spPr>
          <a:xfrm>
            <a:off x="7652936" y="2940339"/>
            <a:ext cx="1092141" cy="3371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600" b="1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汉仪正圆-55W" panose="00020600040101010101" pitchFamily="18" charset="-122"/>
                <a:ea typeface="汉仪正圆-55W" panose="00020600040101010101" pitchFamily="18" charset="-122"/>
                <a:cs typeface="Open Sans" pitchFamily="34" charset="0"/>
                <a:sym typeface="汉仪正圆-55W" panose="00020600040101010101" pitchFamily="18" charset="-122"/>
              </a:rPr>
              <a:t>添加标题</a:t>
            </a:r>
            <a:endParaRPr kumimoji="0" lang="zh-CN" altLang="en-US" sz="16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汉仪正圆-55W" panose="00020600040101010101" pitchFamily="18" charset="-122"/>
              <a:ea typeface="汉仪正圆-55W" panose="00020600040101010101" pitchFamily="18" charset="-122"/>
              <a:cs typeface="Open Sans" pitchFamily="34" charset="0"/>
              <a:sym typeface="汉仪正圆-55W" panose="00020600040101010101" pitchFamily="18" charset="-122"/>
            </a:endParaRPr>
          </a:p>
        </p:txBody>
      </p:sp>
      <p:sp>
        <p:nvSpPr>
          <p:cNvPr id="20" name="深度视觉·原创设计 https://www.docer.com/works?userid=22383862"/>
          <p:cNvSpPr/>
          <p:nvPr/>
        </p:nvSpPr>
        <p:spPr>
          <a:xfrm>
            <a:off x="9758495" y="2940339"/>
            <a:ext cx="1092141" cy="3371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600" b="1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汉仪正圆-55W" panose="00020600040101010101" pitchFamily="18" charset="-122"/>
                <a:ea typeface="汉仪正圆-55W" panose="00020600040101010101" pitchFamily="18" charset="-122"/>
                <a:cs typeface="Open Sans" pitchFamily="34" charset="0"/>
                <a:sym typeface="汉仪正圆-55W" panose="00020600040101010101" pitchFamily="18" charset="-122"/>
              </a:rPr>
              <a:t>添加标题</a:t>
            </a:r>
            <a:endParaRPr kumimoji="0" lang="zh-CN" altLang="en-US" sz="16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汉仪正圆-55W" panose="00020600040101010101" pitchFamily="18" charset="-122"/>
              <a:ea typeface="汉仪正圆-55W" panose="00020600040101010101" pitchFamily="18" charset="-122"/>
              <a:cs typeface="Open Sans" pitchFamily="34" charset="0"/>
              <a:sym typeface="汉仪正圆-55W" panose="00020600040101010101" pitchFamily="18" charset="-122"/>
            </a:endParaRPr>
          </a:p>
        </p:txBody>
      </p:sp>
      <p:sp>
        <p:nvSpPr>
          <p:cNvPr id="21" name="深度视觉·原创设计 https://www.docer.com/works?userid=22383862"/>
          <p:cNvSpPr/>
          <p:nvPr/>
        </p:nvSpPr>
        <p:spPr>
          <a:xfrm>
            <a:off x="933268" y="4473493"/>
            <a:ext cx="2009488" cy="11169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ts val="2000"/>
              </a:lnSpc>
              <a:defRPr/>
            </a:pPr>
            <a:r>
              <a:rPr lang="zh-CN" altLang="en-US" sz="1200" dirty="0">
                <a:solidFill>
                  <a:schemeClr val="bg1">
                    <a:lumMod val="50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请在此处添加具体内容，文字尽量言简意赅，简单说明即可，不必过于繁琐，注意板面美观度。</a:t>
            </a:r>
            <a:endParaRPr lang="zh-CN" altLang="en-US" sz="1200" dirty="0">
              <a:solidFill>
                <a:schemeClr val="bg1">
                  <a:lumMod val="50000"/>
                </a:schemeClr>
              </a:solidFill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22" name="深度视觉·原创设计 https://www.docer.com/works?userid=22383862"/>
          <p:cNvSpPr/>
          <p:nvPr/>
        </p:nvSpPr>
        <p:spPr>
          <a:xfrm>
            <a:off x="1391738" y="4143963"/>
            <a:ext cx="1092141" cy="3371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600" b="1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汉仪正圆-55W" panose="00020600040101010101" pitchFamily="18" charset="-122"/>
                <a:ea typeface="汉仪正圆-55W" panose="00020600040101010101" pitchFamily="18" charset="-122"/>
                <a:cs typeface="Open Sans" pitchFamily="34" charset="0"/>
                <a:sym typeface="汉仪正圆-55W" panose="00020600040101010101" pitchFamily="18" charset="-122"/>
              </a:rPr>
              <a:t>添加标题</a:t>
            </a:r>
            <a:endParaRPr kumimoji="0" lang="zh-CN" altLang="en-US" sz="16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汉仪正圆-55W" panose="00020600040101010101" pitchFamily="18" charset="-122"/>
              <a:ea typeface="汉仪正圆-55W" panose="00020600040101010101" pitchFamily="18" charset="-122"/>
              <a:cs typeface="Open Sans" pitchFamily="34" charset="0"/>
              <a:sym typeface="汉仪正圆-55W" panose="00020600040101010101" pitchFamily="18" charset="-122"/>
            </a:endParaRPr>
          </a:p>
        </p:txBody>
      </p:sp>
      <p:sp>
        <p:nvSpPr>
          <p:cNvPr id="23" name="深度视觉·原创设计 https://www.docer.com/works?userid=22383862"/>
          <p:cNvSpPr/>
          <p:nvPr/>
        </p:nvSpPr>
        <p:spPr>
          <a:xfrm>
            <a:off x="3033052" y="4473493"/>
            <a:ext cx="2009488" cy="11169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ts val="2000"/>
              </a:lnSpc>
              <a:defRPr/>
            </a:pPr>
            <a:r>
              <a:rPr lang="zh-CN" altLang="en-US" sz="1200" dirty="0">
                <a:solidFill>
                  <a:schemeClr val="bg1">
                    <a:lumMod val="50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请在此处添加具体内容，文字尽量言简意赅，简单说明即可，不必过于繁琐，注意板面美观度。</a:t>
            </a:r>
            <a:endParaRPr lang="zh-CN" altLang="en-US" sz="1200" dirty="0">
              <a:solidFill>
                <a:schemeClr val="bg1">
                  <a:lumMod val="50000"/>
                </a:schemeClr>
              </a:solidFill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24" name="深度视觉·原创设计 https://www.docer.com/works?userid=22383862"/>
          <p:cNvSpPr/>
          <p:nvPr/>
        </p:nvSpPr>
        <p:spPr>
          <a:xfrm>
            <a:off x="3491522" y="4143963"/>
            <a:ext cx="1092141" cy="3371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600" b="1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汉仪正圆-55W" panose="00020600040101010101" pitchFamily="18" charset="-122"/>
                <a:ea typeface="汉仪正圆-55W" panose="00020600040101010101" pitchFamily="18" charset="-122"/>
                <a:cs typeface="Open Sans" pitchFamily="34" charset="0"/>
                <a:sym typeface="汉仪正圆-55W" panose="00020600040101010101" pitchFamily="18" charset="-122"/>
              </a:rPr>
              <a:t>添加标题</a:t>
            </a:r>
            <a:endParaRPr kumimoji="0" lang="zh-CN" altLang="en-US" sz="16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汉仪正圆-55W" panose="00020600040101010101" pitchFamily="18" charset="-122"/>
              <a:ea typeface="汉仪正圆-55W" panose="00020600040101010101" pitchFamily="18" charset="-122"/>
              <a:cs typeface="Open Sans" pitchFamily="34" charset="0"/>
              <a:sym typeface="汉仪正圆-55W" panose="00020600040101010101" pitchFamily="18" charset="-122"/>
            </a:endParaRPr>
          </a:p>
        </p:txBody>
      </p:sp>
      <p:sp>
        <p:nvSpPr>
          <p:cNvPr id="25" name="深度视觉·原创设计 https://www.docer.com/works?userid=22383862"/>
          <p:cNvSpPr/>
          <p:nvPr/>
        </p:nvSpPr>
        <p:spPr>
          <a:xfrm>
            <a:off x="5091256" y="4473493"/>
            <a:ext cx="2009488" cy="11169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ts val="2000"/>
              </a:lnSpc>
              <a:defRPr/>
            </a:pPr>
            <a:r>
              <a:rPr lang="zh-CN" altLang="en-US" sz="1200" dirty="0">
                <a:solidFill>
                  <a:schemeClr val="bg1">
                    <a:lumMod val="50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请在此处添加具体内容，文字尽量言简意赅，简单说明即可，不必过于繁琐，注意板面美观度。</a:t>
            </a:r>
            <a:endParaRPr lang="zh-CN" altLang="en-US" sz="1200" dirty="0">
              <a:solidFill>
                <a:schemeClr val="bg1">
                  <a:lumMod val="50000"/>
                </a:schemeClr>
              </a:solidFill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26" name="深度视觉·原创设计 https://www.docer.com/works?userid=22383862"/>
          <p:cNvSpPr/>
          <p:nvPr/>
        </p:nvSpPr>
        <p:spPr>
          <a:xfrm>
            <a:off x="5549726" y="4143963"/>
            <a:ext cx="1092141" cy="3371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600" b="1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汉仪正圆-55W" panose="00020600040101010101" pitchFamily="18" charset="-122"/>
                <a:ea typeface="汉仪正圆-55W" panose="00020600040101010101" pitchFamily="18" charset="-122"/>
                <a:cs typeface="Open Sans" pitchFamily="34" charset="0"/>
                <a:sym typeface="汉仪正圆-55W" panose="00020600040101010101" pitchFamily="18" charset="-122"/>
              </a:rPr>
              <a:t>添加标题</a:t>
            </a:r>
            <a:endParaRPr kumimoji="0" lang="zh-CN" altLang="en-US" sz="16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汉仪正圆-55W" panose="00020600040101010101" pitchFamily="18" charset="-122"/>
              <a:ea typeface="汉仪正圆-55W" panose="00020600040101010101" pitchFamily="18" charset="-122"/>
              <a:cs typeface="Open Sans" pitchFamily="34" charset="0"/>
              <a:sym typeface="汉仪正圆-55W" panose="00020600040101010101" pitchFamily="18" charset="-122"/>
            </a:endParaRPr>
          </a:p>
        </p:txBody>
      </p:sp>
      <p:sp>
        <p:nvSpPr>
          <p:cNvPr id="27" name="深度视觉·原创设计 https://www.docer.com/works?userid=22383862"/>
          <p:cNvSpPr/>
          <p:nvPr/>
        </p:nvSpPr>
        <p:spPr>
          <a:xfrm>
            <a:off x="7242467" y="4473493"/>
            <a:ext cx="2009488" cy="11169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ts val="2000"/>
              </a:lnSpc>
              <a:defRPr/>
            </a:pPr>
            <a:r>
              <a:rPr lang="zh-CN" altLang="en-US" sz="1200" dirty="0">
                <a:solidFill>
                  <a:schemeClr val="bg1">
                    <a:lumMod val="50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请在此处添加具体内容，文字尽量言简意赅，简单说明即可，不必过于繁琐，注意板面美观度。</a:t>
            </a:r>
            <a:endParaRPr lang="zh-CN" altLang="en-US" sz="1200" dirty="0">
              <a:solidFill>
                <a:schemeClr val="bg1">
                  <a:lumMod val="50000"/>
                </a:schemeClr>
              </a:solidFill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28" name="深度视觉·原创设计 https://www.docer.com/works?userid=22383862"/>
          <p:cNvSpPr/>
          <p:nvPr/>
        </p:nvSpPr>
        <p:spPr>
          <a:xfrm>
            <a:off x="7700937" y="4143963"/>
            <a:ext cx="1092141" cy="3371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600" b="1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汉仪正圆-55W" panose="00020600040101010101" pitchFamily="18" charset="-122"/>
                <a:ea typeface="汉仪正圆-55W" panose="00020600040101010101" pitchFamily="18" charset="-122"/>
                <a:cs typeface="Open Sans" pitchFamily="34" charset="0"/>
                <a:sym typeface="汉仪正圆-55W" panose="00020600040101010101" pitchFamily="18" charset="-122"/>
              </a:rPr>
              <a:t>添加标题</a:t>
            </a:r>
            <a:endParaRPr kumimoji="0" lang="zh-CN" altLang="en-US" sz="16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汉仪正圆-55W" panose="00020600040101010101" pitchFamily="18" charset="-122"/>
              <a:ea typeface="汉仪正圆-55W" panose="00020600040101010101" pitchFamily="18" charset="-122"/>
              <a:cs typeface="Open Sans" pitchFamily="34" charset="0"/>
              <a:sym typeface="汉仪正圆-55W" panose="00020600040101010101" pitchFamily="18" charset="-122"/>
            </a:endParaRPr>
          </a:p>
        </p:txBody>
      </p:sp>
      <p:sp>
        <p:nvSpPr>
          <p:cNvPr id="29" name="深度视觉·原创设计 https://www.docer.com/works?userid=22383862"/>
          <p:cNvSpPr/>
          <p:nvPr/>
        </p:nvSpPr>
        <p:spPr>
          <a:xfrm>
            <a:off x="9347174" y="4473493"/>
            <a:ext cx="2009488" cy="11169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ts val="2000"/>
              </a:lnSpc>
              <a:defRPr/>
            </a:pPr>
            <a:r>
              <a:rPr lang="zh-CN" altLang="en-US" sz="1200" dirty="0">
                <a:solidFill>
                  <a:schemeClr val="bg1">
                    <a:lumMod val="50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请在此处添加具体内容，文字尽量言简意赅，简单说明即可，不必过于繁琐，注意板面美观度。</a:t>
            </a:r>
            <a:endParaRPr lang="zh-CN" altLang="en-US" sz="1200" dirty="0">
              <a:solidFill>
                <a:schemeClr val="bg1">
                  <a:lumMod val="50000"/>
                </a:schemeClr>
              </a:solidFill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30" name="深度视觉·原创设计 https://www.docer.com/works?userid=22383862"/>
          <p:cNvSpPr/>
          <p:nvPr/>
        </p:nvSpPr>
        <p:spPr>
          <a:xfrm>
            <a:off x="9805644" y="4143963"/>
            <a:ext cx="1092141" cy="3371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600" b="1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汉仪正圆-55W" panose="00020600040101010101" pitchFamily="18" charset="-122"/>
                <a:ea typeface="汉仪正圆-55W" panose="00020600040101010101" pitchFamily="18" charset="-122"/>
                <a:cs typeface="Open Sans" pitchFamily="34" charset="0"/>
                <a:sym typeface="汉仪正圆-55W" panose="00020600040101010101" pitchFamily="18" charset="-122"/>
              </a:rPr>
              <a:t>添加标题</a:t>
            </a:r>
            <a:endParaRPr kumimoji="0" lang="zh-CN" altLang="en-US" sz="16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汉仪正圆-55W" panose="00020600040101010101" pitchFamily="18" charset="-122"/>
              <a:ea typeface="汉仪正圆-55W" panose="00020600040101010101" pitchFamily="18" charset="-122"/>
              <a:cs typeface="Open Sans" pitchFamily="34" charset="0"/>
              <a:sym typeface="汉仪正圆-55W" panose="00020600040101010101" pitchFamily="18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1000"/>
                            </p:stCondLst>
                            <p:childTnLst>
                              <p:par>
                                <p:cTn id="31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2000"/>
                            </p:stCondLst>
                            <p:childTnLst>
                              <p:par>
                                <p:cTn id="42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3000"/>
                            </p:stCondLst>
                            <p:childTnLst>
                              <p:par>
                                <p:cTn id="53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8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1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4000"/>
                            </p:stCondLst>
                            <p:childTnLst>
                              <p:par>
                                <p:cTn id="64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7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2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4" fill="hold">
                            <p:stCondLst>
                              <p:cond delay="5000"/>
                            </p:stCondLst>
                            <p:childTnLst>
                              <p:par>
                                <p:cTn id="7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8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9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3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4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7" grpId="0"/>
      <p:bldP spid="18" grpId="0"/>
      <p:bldP spid="19" grpId="0"/>
      <p:bldP spid="20" grpId="0"/>
      <p:bldP spid="21" grpId="0"/>
      <p:bldP spid="22" grpId="0"/>
      <p:bldP spid="23" grpId="0"/>
      <p:bldP spid="24" grpId="0"/>
      <p:bldP spid="25" grpId="0"/>
      <p:bldP spid="26" grpId="0"/>
      <p:bldP spid="27" grpId="0"/>
      <p:bldP spid="28" grpId="0"/>
      <p:bldP spid="29" grpId="0"/>
      <p:bldP spid="30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深度视觉·原创设计 https://www.docer.com/works?userid=22383862"/>
          <p:cNvSpPr/>
          <p:nvPr/>
        </p:nvSpPr>
        <p:spPr>
          <a:xfrm flipH="1">
            <a:off x="11252019" y="5989229"/>
            <a:ext cx="939981" cy="868771"/>
          </a:xfrm>
          <a:prstGeom prst="corner">
            <a:avLst>
              <a:gd name="adj1" fmla="val 17397"/>
              <a:gd name="adj2" fmla="val 16614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80" name="深度视觉·原创设计 https://www.docer.com/works?userid=22383862"/>
          <p:cNvSpPr/>
          <p:nvPr/>
        </p:nvSpPr>
        <p:spPr>
          <a:xfrm rot="10800000" flipH="1">
            <a:off x="0" y="0"/>
            <a:ext cx="939981" cy="868771"/>
          </a:xfrm>
          <a:prstGeom prst="corner">
            <a:avLst>
              <a:gd name="adj1" fmla="val 17397"/>
              <a:gd name="adj2" fmla="val 16614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81" name="深度视觉·原创设计 https://www.docer.com/works?userid=22383862"/>
          <p:cNvSpPr/>
          <p:nvPr/>
        </p:nvSpPr>
        <p:spPr>
          <a:xfrm>
            <a:off x="4535714" y="350796"/>
            <a:ext cx="3120572" cy="51797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82" name="深度视觉·原创设计 https://www.docer.com/works?userid=22383862"/>
          <p:cNvSpPr txBox="1"/>
          <p:nvPr/>
        </p:nvSpPr>
        <p:spPr>
          <a:xfrm>
            <a:off x="4966459" y="455895"/>
            <a:ext cx="2259081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2000" spc="300" dirty="0">
                <a:solidFill>
                  <a:schemeClr val="tx1">
                    <a:lumMod val="75000"/>
                    <a:lumOff val="25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cs typeface="Alibaba PuHuiTi" pitchFamily="18" charset="-122"/>
                <a:sym typeface="汉仪正圆-55W" panose="00020600040101010101" pitchFamily="18" charset="-122"/>
              </a:rPr>
              <a:t>输入您的标题</a:t>
            </a:r>
            <a:endParaRPr kumimoji="0" lang="zh-CN" altLang="en-US" sz="2000" i="0" u="none" strike="noStrike" kern="1200" cap="none" spc="30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汉仪正圆-55W" panose="00020600040101010101" pitchFamily="18" charset="-122"/>
              <a:ea typeface="汉仪正圆-55W" panose="00020600040101010101" pitchFamily="18" charset="-122"/>
              <a:cs typeface="Alibaba PuHuiTi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3" name="深度视觉·原创设计 https://www.docer.com/works?userid=22383862"/>
          <p:cNvSpPr/>
          <p:nvPr/>
        </p:nvSpPr>
        <p:spPr bwMode="auto">
          <a:xfrm flipH="1">
            <a:off x="3502422" y="4153693"/>
            <a:ext cx="1633880" cy="456751"/>
          </a:xfrm>
          <a:custGeom>
            <a:avLst/>
            <a:gdLst>
              <a:gd name="T0" fmla="*/ 685800 w 21600"/>
              <a:gd name="T1" fmla="*/ 228600 h 21600"/>
              <a:gd name="T2" fmla="*/ 685800 w 21600"/>
              <a:gd name="T3" fmla="*/ 228600 h 21600"/>
              <a:gd name="T4" fmla="*/ 685800 w 21600"/>
              <a:gd name="T5" fmla="*/ 228600 h 21600"/>
              <a:gd name="T6" fmla="*/ 685800 w 21600"/>
              <a:gd name="T7" fmla="*/ 228600 h 21600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1600" h="21600">
                <a:moveTo>
                  <a:pt x="0" y="0"/>
                </a:moveTo>
                <a:lnTo>
                  <a:pt x="10800" y="0"/>
                </a:lnTo>
                <a:lnTo>
                  <a:pt x="10800" y="21600"/>
                </a:lnTo>
                <a:lnTo>
                  <a:pt x="21600" y="21600"/>
                </a:lnTo>
              </a:path>
            </a:pathLst>
          </a:custGeom>
          <a:noFill/>
          <a:ln w="9525" cap="flat" cmpd="sng">
            <a:solidFill>
              <a:srgbClr val="BFBFBF"/>
            </a:solidFill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7"/>
                    </a:srgbClr>
                  </a:outerShdw>
                </a:effectLst>
              </a14:hiddenEffects>
            </a:ext>
          </a:extLst>
        </p:spPr>
        <p:txBody>
          <a:bodyPr lIns="0" tIns="0" rIns="0" bIns="0" anchor="ctr"/>
          <a:lstStyle>
            <a:defPPr>
              <a:defRPr lang="es-ES"/>
            </a:defPPr>
            <a:lvl1pPr algn="l" rtl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rgbClr val="000000"/>
                </a:solidFill>
                <a:latin typeface="Calibri" panose="020F0502020204030204" charset="0"/>
                <a:ea typeface="MS PGothic" panose="020B0600070205080204" pitchFamily="34" charset="-128"/>
                <a:cs typeface="+mn-cs"/>
                <a:sym typeface="Calibri" panose="020F0502020204030204" charset="0"/>
              </a:defRPr>
            </a:lvl1pPr>
            <a:lvl2pPr marL="457200" algn="l" rtl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rgbClr val="000000"/>
                </a:solidFill>
                <a:latin typeface="Calibri" panose="020F0502020204030204" charset="0"/>
                <a:ea typeface="MS PGothic" panose="020B0600070205080204" pitchFamily="34" charset="-128"/>
                <a:cs typeface="+mn-cs"/>
                <a:sym typeface="Calibri" panose="020F0502020204030204" charset="0"/>
              </a:defRPr>
            </a:lvl2pPr>
            <a:lvl3pPr marL="914400" algn="l" rtl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rgbClr val="000000"/>
                </a:solidFill>
                <a:latin typeface="Calibri" panose="020F0502020204030204" charset="0"/>
                <a:ea typeface="MS PGothic" panose="020B0600070205080204" pitchFamily="34" charset="-128"/>
                <a:cs typeface="+mn-cs"/>
                <a:sym typeface="Calibri" panose="020F0502020204030204" charset="0"/>
              </a:defRPr>
            </a:lvl3pPr>
            <a:lvl4pPr marL="1371600" algn="l" rtl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rgbClr val="000000"/>
                </a:solidFill>
                <a:latin typeface="Calibri" panose="020F0502020204030204" charset="0"/>
                <a:ea typeface="MS PGothic" panose="020B0600070205080204" pitchFamily="34" charset="-128"/>
                <a:cs typeface="+mn-cs"/>
                <a:sym typeface="Calibri" panose="020F0502020204030204" charset="0"/>
              </a:defRPr>
            </a:lvl4pPr>
            <a:lvl5pPr marL="1828800" algn="l" rtl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rgbClr val="000000"/>
                </a:solidFill>
                <a:latin typeface="Calibri" panose="020F0502020204030204" charset="0"/>
                <a:ea typeface="MS PGothic" panose="020B0600070205080204" pitchFamily="34" charset="-128"/>
                <a:cs typeface="+mn-cs"/>
                <a:sym typeface="Calibri" panose="020F0502020204030204" charset="0"/>
              </a:defRPr>
            </a:lvl5pPr>
            <a:lvl6pPr marL="2286000" algn="l" defTabSz="914400" rtl="0" eaLnBrk="1" latinLnBrk="0" hangingPunct="1">
              <a:defRPr kern="1200">
                <a:solidFill>
                  <a:srgbClr val="000000"/>
                </a:solidFill>
                <a:latin typeface="Calibri" panose="020F0502020204030204" charset="0"/>
                <a:ea typeface="MS PGothic" panose="020B0600070205080204" pitchFamily="34" charset="-128"/>
                <a:cs typeface="+mn-cs"/>
                <a:sym typeface="Calibri" panose="020F0502020204030204" charset="0"/>
              </a:defRPr>
            </a:lvl6pPr>
            <a:lvl7pPr marL="2743200" algn="l" defTabSz="914400" rtl="0" eaLnBrk="1" latinLnBrk="0" hangingPunct="1">
              <a:defRPr kern="1200">
                <a:solidFill>
                  <a:srgbClr val="000000"/>
                </a:solidFill>
                <a:latin typeface="Calibri" panose="020F0502020204030204" charset="0"/>
                <a:ea typeface="MS PGothic" panose="020B0600070205080204" pitchFamily="34" charset="-128"/>
                <a:cs typeface="+mn-cs"/>
                <a:sym typeface="Calibri" panose="020F0502020204030204" charset="0"/>
              </a:defRPr>
            </a:lvl7pPr>
            <a:lvl8pPr marL="3200400" algn="l" defTabSz="914400" rtl="0" eaLnBrk="1" latinLnBrk="0" hangingPunct="1">
              <a:defRPr kern="1200">
                <a:solidFill>
                  <a:srgbClr val="000000"/>
                </a:solidFill>
                <a:latin typeface="Calibri" panose="020F0502020204030204" charset="0"/>
                <a:ea typeface="MS PGothic" panose="020B0600070205080204" pitchFamily="34" charset="-128"/>
                <a:cs typeface="+mn-cs"/>
                <a:sym typeface="Calibri" panose="020F0502020204030204" charset="0"/>
              </a:defRPr>
            </a:lvl8pPr>
            <a:lvl9pPr marL="3657600" algn="l" defTabSz="914400" rtl="0" eaLnBrk="1" latinLnBrk="0" hangingPunct="1">
              <a:defRPr kern="1200">
                <a:solidFill>
                  <a:srgbClr val="000000"/>
                </a:solidFill>
                <a:latin typeface="Calibri" panose="020F0502020204030204" charset="0"/>
                <a:ea typeface="MS PGothic" panose="020B0600070205080204" pitchFamily="34" charset="-128"/>
                <a:cs typeface="+mn-cs"/>
                <a:sym typeface="Calibri" panose="020F0502020204030204" charset="0"/>
              </a:defRPr>
            </a:lvl9pPr>
          </a:lstStyle>
          <a:p>
            <a:endParaRPr lang="en-US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4" name="深度视觉·原创设计 https://www.docer.com/works?userid=22383862"/>
          <p:cNvSpPr/>
          <p:nvPr/>
        </p:nvSpPr>
        <p:spPr bwMode="auto">
          <a:xfrm>
            <a:off x="3044826" y="4305943"/>
            <a:ext cx="594745" cy="597051"/>
          </a:xfrm>
          <a:custGeom>
            <a:avLst/>
            <a:gdLst>
              <a:gd name="T0" fmla="*/ 297100 w 19679"/>
              <a:gd name="T1" fmla="*/ 327989 h 19679"/>
              <a:gd name="T2" fmla="*/ 297100 w 19679"/>
              <a:gd name="T3" fmla="*/ 327989 h 19679"/>
              <a:gd name="T4" fmla="*/ 297100 w 19679"/>
              <a:gd name="T5" fmla="*/ 327989 h 19679"/>
              <a:gd name="T6" fmla="*/ 297100 w 19679"/>
              <a:gd name="T7" fmla="*/ 327989 h 19679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19679" h="19679">
                <a:moveTo>
                  <a:pt x="16796" y="2881"/>
                </a:moveTo>
                <a:cubicBezTo>
                  <a:pt x="20638" y="6724"/>
                  <a:pt x="20638" y="12953"/>
                  <a:pt x="16796" y="16796"/>
                </a:cubicBezTo>
                <a:cubicBezTo>
                  <a:pt x="12953" y="20639"/>
                  <a:pt x="6724" y="20639"/>
                  <a:pt x="2881" y="16796"/>
                </a:cubicBezTo>
                <a:cubicBezTo>
                  <a:pt x="-961" y="12953"/>
                  <a:pt x="-961" y="6724"/>
                  <a:pt x="2881" y="2881"/>
                </a:cubicBezTo>
                <a:cubicBezTo>
                  <a:pt x="6724" y="-961"/>
                  <a:pt x="12953" y="-961"/>
                  <a:pt x="16796" y="2881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lIns="0" tIns="0" rIns="0" bIns="0" anchor="ctr"/>
          <a:lstStyle>
            <a:defPPr>
              <a:defRPr lang="es-ES"/>
            </a:defPPr>
            <a:lvl1pPr algn="l" rtl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rgbClr val="000000"/>
                </a:solidFill>
                <a:latin typeface="Calibri" panose="020F0502020204030204" charset="0"/>
                <a:ea typeface="MS PGothic" panose="020B0600070205080204" pitchFamily="34" charset="-128"/>
                <a:cs typeface="+mn-cs"/>
                <a:sym typeface="Calibri" panose="020F0502020204030204" charset="0"/>
              </a:defRPr>
            </a:lvl1pPr>
            <a:lvl2pPr marL="457200" algn="l" rtl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rgbClr val="000000"/>
                </a:solidFill>
                <a:latin typeface="Calibri" panose="020F0502020204030204" charset="0"/>
                <a:ea typeface="MS PGothic" panose="020B0600070205080204" pitchFamily="34" charset="-128"/>
                <a:cs typeface="+mn-cs"/>
                <a:sym typeface="Calibri" panose="020F0502020204030204" charset="0"/>
              </a:defRPr>
            </a:lvl2pPr>
            <a:lvl3pPr marL="914400" algn="l" rtl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rgbClr val="000000"/>
                </a:solidFill>
                <a:latin typeface="Calibri" panose="020F0502020204030204" charset="0"/>
                <a:ea typeface="MS PGothic" panose="020B0600070205080204" pitchFamily="34" charset="-128"/>
                <a:cs typeface="+mn-cs"/>
                <a:sym typeface="Calibri" panose="020F0502020204030204" charset="0"/>
              </a:defRPr>
            </a:lvl3pPr>
            <a:lvl4pPr marL="1371600" algn="l" rtl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rgbClr val="000000"/>
                </a:solidFill>
                <a:latin typeface="Calibri" panose="020F0502020204030204" charset="0"/>
                <a:ea typeface="MS PGothic" panose="020B0600070205080204" pitchFamily="34" charset="-128"/>
                <a:cs typeface="+mn-cs"/>
                <a:sym typeface="Calibri" panose="020F0502020204030204" charset="0"/>
              </a:defRPr>
            </a:lvl4pPr>
            <a:lvl5pPr marL="1828800" algn="l" rtl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rgbClr val="000000"/>
                </a:solidFill>
                <a:latin typeface="Calibri" panose="020F0502020204030204" charset="0"/>
                <a:ea typeface="MS PGothic" panose="020B0600070205080204" pitchFamily="34" charset="-128"/>
                <a:cs typeface="+mn-cs"/>
                <a:sym typeface="Calibri" panose="020F0502020204030204" charset="0"/>
              </a:defRPr>
            </a:lvl5pPr>
            <a:lvl6pPr marL="2286000" algn="l" defTabSz="914400" rtl="0" eaLnBrk="1" latinLnBrk="0" hangingPunct="1">
              <a:defRPr kern="1200">
                <a:solidFill>
                  <a:srgbClr val="000000"/>
                </a:solidFill>
                <a:latin typeface="Calibri" panose="020F0502020204030204" charset="0"/>
                <a:ea typeface="MS PGothic" panose="020B0600070205080204" pitchFamily="34" charset="-128"/>
                <a:cs typeface="+mn-cs"/>
                <a:sym typeface="Calibri" panose="020F0502020204030204" charset="0"/>
              </a:defRPr>
            </a:lvl6pPr>
            <a:lvl7pPr marL="2743200" algn="l" defTabSz="914400" rtl="0" eaLnBrk="1" latinLnBrk="0" hangingPunct="1">
              <a:defRPr kern="1200">
                <a:solidFill>
                  <a:srgbClr val="000000"/>
                </a:solidFill>
                <a:latin typeface="Calibri" panose="020F0502020204030204" charset="0"/>
                <a:ea typeface="MS PGothic" panose="020B0600070205080204" pitchFamily="34" charset="-128"/>
                <a:cs typeface="+mn-cs"/>
                <a:sym typeface="Calibri" panose="020F0502020204030204" charset="0"/>
              </a:defRPr>
            </a:lvl7pPr>
            <a:lvl8pPr marL="3200400" algn="l" defTabSz="914400" rtl="0" eaLnBrk="1" latinLnBrk="0" hangingPunct="1">
              <a:defRPr kern="1200">
                <a:solidFill>
                  <a:srgbClr val="000000"/>
                </a:solidFill>
                <a:latin typeface="Calibri" panose="020F0502020204030204" charset="0"/>
                <a:ea typeface="MS PGothic" panose="020B0600070205080204" pitchFamily="34" charset="-128"/>
                <a:cs typeface="+mn-cs"/>
                <a:sym typeface="Calibri" panose="020F0502020204030204" charset="0"/>
              </a:defRPr>
            </a:lvl8pPr>
            <a:lvl9pPr marL="3657600" algn="l" defTabSz="914400" rtl="0" eaLnBrk="1" latinLnBrk="0" hangingPunct="1">
              <a:defRPr kern="1200">
                <a:solidFill>
                  <a:srgbClr val="000000"/>
                </a:solidFill>
                <a:latin typeface="Calibri" panose="020F0502020204030204" charset="0"/>
                <a:ea typeface="MS PGothic" panose="020B0600070205080204" pitchFamily="34" charset="-128"/>
                <a:cs typeface="+mn-cs"/>
                <a:sym typeface="Calibri" panose="020F0502020204030204" charset="0"/>
              </a:defRPr>
            </a:lvl9pPr>
          </a:lstStyle>
          <a:p>
            <a:endParaRPr lang="en-US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grpSp>
        <p:nvGrpSpPr>
          <p:cNvPr id="5" name="深度视觉·原创设计 https://www.docer.com/works?userid=22383862"/>
          <p:cNvGrpSpPr/>
          <p:nvPr/>
        </p:nvGrpSpPr>
        <p:grpSpPr bwMode="auto">
          <a:xfrm>
            <a:off x="3197358" y="4458193"/>
            <a:ext cx="320678" cy="309174"/>
            <a:chOff x="-1" y="0"/>
            <a:chExt cx="320400" cy="309478"/>
          </a:xfrm>
        </p:grpSpPr>
        <p:sp>
          <p:nvSpPr>
            <p:cNvPr id="6" name="深度视觉·原创设计 https://www.docer.com/works?userid=22383862"/>
            <p:cNvSpPr/>
            <p:nvPr/>
          </p:nvSpPr>
          <p:spPr bwMode="auto">
            <a:xfrm>
              <a:off x="114688" y="123790"/>
              <a:ext cx="34590" cy="32769"/>
            </a:xfrm>
            <a:custGeom>
              <a:avLst/>
              <a:gdLst>
                <a:gd name="T0" fmla="*/ 17295 w 21600"/>
                <a:gd name="T1" fmla="*/ 16385 h 21600"/>
                <a:gd name="T2" fmla="*/ 17295 w 21600"/>
                <a:gd name="T3" fmla="*/ 16385 h 21600"/>
                <a:gd name="T4" fmla="*/ 17295 w 21600"/>
                <a:gd name="T5" fmla="*/ 16385 h 21600"/>
                <a:gd name="T6" fmla="*/ 17295 w 21600"/>
                <a:gd name="T7" fmla="*/ 16385 h 2160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1600" h="21600">
                  <a:moveTo>
                    <a:pt x="0" y="0"/>
                  </a:moveTo>
                  <a:lnTo>
                    <a:pt x="21599" y="0"/>
                  </a:lnTo>
                  <a:lnTo>
                    <a:pt x="21599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miter lim="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7"/>
                      </a:srgbClr>
                    </a:outerShdw>
                  </a:effectLst>
                </a14:hiddenEffects>
              </a:ext>
            </a:extLst>
          </p:spPr>
          <p:txBody>
            <a:bodyPr lIns="0" tIns="0" rIns="0" bIns="0"/>
            <a:lstStyle>
              <a:defPPr>
                <a:defRPr lang="es-ES"/>
              </a:defPPr>
              <a:lvl1pPr algn="l" rtl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1pPr>
              <a:lvl2pPr marL="457200" algn="l" rtl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2pPr>
              <a:lvl3pPr marL="914400" algn="l" rtl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3pPr>
              <a:lvl4pPr marL="1371600" algn="l" rtl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4pPr>
              <a:lvl5pPr marL="1828800" algn="l" rtl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9pPr>
            </a:lstStyle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7" name="深度视觉·原创设计 https://www.docer.com/works?userid=22383862"/>
            <p:cNvSpPr/>
            <p:nvPr/>
          </p:nvSpPr>
          <p:spPr bwMode="auto">
            <a:xfrm>
              <a:off x="169301" y="123790"/>
              <a:ext cx="36410" cy="32769"/>
            </a:xfrm>
            <a:custGeom>
              <a:avLst/>
              <a:gdLst>
                <a:gd name="T0" fmla="*/ 18205 w 21600"/>
                <a:gd name="T1" fmla="*/ 16385 h 21600"/>
                <a:gd name="T2" fmla="*/ 18205 w 21600"/>
                <a:gd name="T3" fmla="*/ 16385 h 21600"/>
                <a:gd name="T4" fmla="*/ 18205 w 21600"/>
                <a:gd name="T5" fmla="*/ 16385 h 21600"/>
                <a:gd name="T6" fmla="*/ 18205 w 21600"/>
                <a:gd name="T7" fmla="*/ 16385 h 2160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1600" h="21600">
                  <a:moveTo>
                    <a:pt x="0" y="0"/>
                  </a:moveTo>
                  <a:lnTo>
                    <a:pt x="21599" y="0"/>
                  </a:lnTo>
                  <a:lnTo>
                    <a:pt x="21599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miter lim="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7"/>
                      </a:srgbClr>
                    </a:outerShdw>
                  </a:effectLst>
                </a14:hiddenEffects>
              </a:ext>
            </a:extLst>
          </p:spPr>
          <p:txBody>
            <a:bodyPr lIns="0" tIns="0" rIns="0" bIns="0"/>
            <a:lstStyle>
              <a:defPPr>
                <a:defRPr lang="es-ES"/>
              </a:defPPr>
              <a:lvl1pPr algn="l" rtl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1pPr>
              <a:lvl2pPr marL="457200" algn="l" rtl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2pPr>
              <a:lvl3pPr marL="914400" algn="l" rtl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3pPr>
              <a:lvl4pPr marL="1371600" algn="l" rtl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4pPr>
              <a:lvl5pPr marL="1828800" algn="l" rtl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9pPr>
            </a:lstStyle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8" name="深度视觉·原创设计 https://www.docer.com/works?userid=22383862"/>
            <p:cNvSpPr/>
            <p:nvPr/>
          </p:nvSpPr>
          <p:spPr bwMode="auto">
            <a:xfrm>
              <a:off x="225736" y="123790"/>
              <a:ext cx="36410" cy="32769"/>
            </a:xfrm>
            <a:custGeom>
              <a:avLst/>
              <a:gdLst>
                <a:gd name="T0" fmla="*/ 18205 w 21600"/>
                <a:gd name="T1" fmla="*/ 16385 h 21600"/>
                <a:gd name="T2" fmla="*/ 18205 w 21600"/>
                <a:gd name="T3" fmla="*/ 16385 h 21600"/>
                <a:gd name="T4" fmla="*/ 18205 w 21600"/>
                <a:gd name="T5" fmla="*/ 16385 h 21600"/>
                <a:gd name="T6" fmla="*/ 18205 w 21600"/>
                <a:gd name="T7" fmla="*/ 16385 h 2160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1600" h="21600">
                  <a:moveTo>
                    <a:pt x="0" y="0"/>
                  </a:moveTo>
                  <a:lnTo>
                    <a:pt x="21599" y="0"/>
                  </a:lnTo>
                  <a:lnTo>
                    <a:pt x="21599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miter lim="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7"/>
                      </a:srgbClr>
                    </a:outerShdw>
                  </a:effectLst>
                </a14:hiddenEffects>
              </a:ext>
            </a:extLst>
          </p:spPr>
          <p:txBody>
            <a:bodyPr lIns="0" tIns="0" rIns="0" bIns="0"/>
            <a:lstStyle>
              <a:defPPr>
                <a:defRPr lang="es-ES"/>
              </a:defPPr>
              <a:lvl1pPr algn="l" rtl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1pPr>
              <a:lvl2pPr marL="457200" algn="l" rtl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2pPr>
              <a:lvl3pPr marL="914400" algn="l" rtl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3pPr>
              <a:lvl4pPr marL="1371600" algn="l" rtl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4pPr>
              <a:lvl5pPr marL="1828800" algn="l" rtl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9pPr>
            </a:lstStyle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9" name="深度视觉·原创设计 https://www.docer.com/works?userid=22383862"/>
            <p:cNvSpPr/>
            <p:nvPr/>
          </p:nvSpPr>
          <p:spPr bwMode="auto">
            <a:xfrm>
              <a:off x="114688" y="172942"/>
              <a:ext cx="34590" cy="34590"/>
            </a:xfrm>
            <a:custGeom>
              <a:avLst/>
              <a:gdLst>
                <a:gd name="T0" fmla="*/ 17295 w 21600"/>
                <a:gd name="T1" fmla="*/ 17295 h 21600"/>
                <a:gd name="T2" fmla="*/ 17295 w 21600"/>
                <a:gd name="T3" fmla="*/ 17295 h 21600"/>
                <a:gd name="T4" fmla="*/ 17295 w 21600"/>
                <a:gd name="T5" fmla="*/ 17295 h 21600"/>
                <a:gd name="T6" fmla="*/ 17295 w 21600"/>
                <a:gd name="T7" fmla="*/ 17295 h 2160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1600" h="21600">
                  <a:moveTo>
                    <a:pt x="0" y="0"/>
                  </a:moveTo>
                  <a:lnTo>
                    <a:pt x="21599" y="0"/>
                  </a:lnTo>
                  <a:lnTo>
                    <a:pt x="21599" y="21599"/>
                  </a:lnTo>
                  <a:lnTo>
                    <a:pt x="0" y="2159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miter lim="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7"/>
                      </a:srgbClr>
                    </a:outerShdw>
                  </a:effectLst>
                </a14:hiddenEffects>
              </a:ext>
            </a:extLst>
          </p:spPr>
          <p:txBody>
            <a:bodyPr lIns="0" tIns="0" rIns="0" bIns="0"/>
            <a:lstStyle>
              <a:defPPr>
                <a:defRPr lang="es-ES"/>
              </a:defPPr>
              <a:lvl1pPr algn="l" rtl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1pPr>
              <a:lvl2pPr marL="457200" algn="l" rtl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2pPr>
              <a:lvl3pPr marL="914400" algn="l" rtl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3pPr>
              <a:lvl4pPr marL="1371600" algn="l" rtl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4pPr>
              <a:lvl5pPr marL="1828800" algn="l" rtl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9pPr>
            </a:lstStyle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10" name="深度视觉·原创设计 https://www.docer.com/works?userid=22383862"/>
            <p:cNvSpPr/>
            <p:nvPr/>
          </p:nvSpPr>
          <p:spPr bwMode="auto">
            <a:xfrm>
              <a:off x="169301" y="172942"/>
              <a:ext cx="36410" cy="34590"/>
            </a:xfrm>
            <a:custGeom>
              <a:avLst/>
              <a:gdLst>
                <a:gd name="T0" fmla="*/ 18205 w 21600"/>
                <a:gd name="T1" fmla="*/ 17295 h 21600"/>
                <a:gd name="T2" fmla="*/ 18205 w 21600"/>
                <a:gd name="T3" fmla="*/ 17295 h 21600"/>
                <a:gd name="T4" fmla="*/ 18205 w 21600"/>
                <a:gd name="T5" fmla="*/ 17295 h 21600"/>
                <a:gd name="T6" fmla="*/ 18205 w 21600"/>
                <a:gd name="T7" fmla="*/ 17295 h 2160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1600" h="21600">
                  <a:moveTo>
                    <a:pt x="0" y="0"/>
                  </a:moveTo>
                  <a:lnTo>
                    <a:pt x="21599" y="0"/>
                  </a:lnTo>
                  <a:lnTo>
                    <a:pt x="21599" y="21599"/>
                  </a:lnTo>
                  <a:lnTo>
                    <a:pt x="0" y="2159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miter lim="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7"/>
                      </a:srgbClr>
                    </a:outerShdw>
                  </a:effectLst>
                </a14:hiddenEffects>
              </a:ext>
            </a:extLst>
          </p:spPr>
          <p:txBody>
            <a:bodyPr lIns="0" tIns="0" rIns="0" bIns="0"/>
            <a:lstStyle>
              <a:defPPr>
                <a:defRPr lang="es-ES"/>
              </a:defPPr>
              <a:lvl1pPr algn="l" rtl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1pPr>
              <a:lvl2pPr marL="457200" algn="l" rtl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2pPr>
              <a:lvl3pPr marL="914400" algn="l" rtl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3pPr>
              <a:lvl4pPr marL="1371600" algn="l" rtl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4pPr>
              <a:lvl5pPr marL="1828800" algn="l" rtl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9pPr>
            </a:lstStyle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11" name="深度视觉·原创设计 https://www.docer.com/works?userid=22383862"/>
            <p:cNvSpPr/>
            <p:nvPr/>
          </p:nvSpPr>
          <p:spPr bwMode="auto">
            <a:xfrm>
              <a:off x="225736" y="172942"/>
              <a:ext cx="36410" cy="34590"/>
            </a:xfrm>
            <a:custGeom>
              <a:avLst/>
              <a:gdLst>
                <a:gd name="T0" fmla="*/ 18205 w 21600"/>
                <a:gd name="T1" fmla="*/ 17295 h 21600"/>
                <a:gd name="T2" fmla="*/ 18205 w 21600"/>
                <a:gd name="T3" fmla="*/ 17295 h 21600"/>
                <a:gd name="T4" fmla="*/ 18205 w 21600"/>
                <a:gd name="T5" fmla="*/ 17295 h 21600"/>
                <a:gd name="T6" fmla="*/ 18205 w 21600"/>
                <a:gd name="T7" fmla="*/ 17295 h 2160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1600" h="21600">
                  <a:moveTo>
                    <a:pt x="0" y="0"/>
                  </a:moveTo>
                  <a:lnTo>
                    <a:pt x="21599" y="0"/>
                  </a:lnTo>
                  <a:lnTo>
                    <a:pt x="21599" y="21599"/>
                  </a:lnTo>
                  <a:lnTo>
                    <a:pt x="0" y="2159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miter lim="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7"/>
                      </a:srgbClr>
                    </a:outerShdw>
                  </a:effectLst>
                </a14:hiddenEffects>
              </a:ext>
            </a:extLst>
          </p:spPr>
          <p:txBody>
            <a:bodyPr lIns="0" tIns="0" rIns="0" bIns="0"/>
            <a:lstStyle>
              <a:defPPr>
                <a:defRPr lang="es-ES"/>
              </a:defPPr>
              <a:lvl1pPr algn="l" rtl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1pPr>
              <a:lvl2pPr marL="457200" algn="l" rtl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2pPr>
              <a:lvl3pPr marL="914400" algn="l" rtl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3pPr>
              <a:lvl4pPr marL="1371600" algn="l" rtl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4pPr>
              <a:lvl5pPr marL="1828800" algn="l" rtl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9pPr>
            </a:lstStyle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12" name="深度视觉·原创设计 https://www.docer.com/works?userid=22383862"/>
            <p:cNvSpPr/>
            <p:nvPr/>
          </p:nvSpPr>
          <p:spPr bwMode="auto">
            <a:xfrm>
              <a:off x="114688" y="225736"/>
              <a:ext cx="34590" cy="32769"/>
            </a:xfrm>
            <a:custGeom>
              <a:avLst/>
              <a:gdLst>
                <a:gd name="T0" fmla="*/ 17295 w 21600"/>
                <a:gd name="T1" fmla="*/ 16385 h 21600"/>
                <a:gd name="T2" fmla="*/ 17295 w 21600"/>
                <a:gd name="T3" fmla="*/ 16385 h 21600"/>
                <a:gd name="T4" fmla="*/ 17295 w 21600"/>
                <a:gd name="T5" fmla="*/ 16385 h 21600"/>
                <a:gd name="T6" fmla="*/ 17295 w 21600"/>
                <a:gd name="T7" fmla="*/ 16385 h 2160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1600" h="21600">
                  <a:moveTo>
                    <a:pt x="0" y="0"/>
                  </a:moveTo>
                  <a:lnTo>
                    <a:pt x="21599" y="0"/>
                  </a:lnTo>
                  <a:lnTo>
                    <a:pt x="21599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miter lim="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7"/>
                      </a:srgbClr>
                    </a:outerShdw>
                  </a:effectLst>
                </a14:hiddenEffects>
              </a:ext>
            </a:extLst>
          </p:spPr>
          <p:txBody>
            <a:bodyPr lIns="0" tIns="0" rIns="0" bIns="0"/>
            <a:lstStyle>
              <a:defPPr>
                <a:defRPr lang="es-ES"/>
              </a:defPPr>
              <a:lvl1pPr algn="l" rtl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1pPr>
              <a:lvl2pPr marL="457200" algn="l" rtl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2pPr>
              <a:lvl3pPr marL="914400" algn="l" rtl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3pPr>
              <a:lvl4pPr marL="1371600" algn="l" rtl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4pPr>
              <a:lvl5pPr marL="1828800" algn="l" rtl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9pPr>
            </a:lstStyle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13" name="深度视觉·原创设计 https://www.docer.com/works?userid=22383862"/>
            <p:cNvSpPr/>
            <p:nvPr/>
          </p:nvSpPr>
          <p:spPr bwMode="auto">
            <a:xfrm>
              <a:off x="58254" y="172942"/>
              <a:ext cx="36410" cy="34590"/>
            </a:xfrm>
            <a:custGeom>
              <a:avLst/>
              <a:gdLst>
                <a:gd name="T0" fmla="*/ 18205 w 21600"/>
                <a:gd name="T1" fmla="*/ 17295 h 21600"/>
                <a:gd name="T2" fmla="*/ 18205 w 21600"/>
                <a:gd name="T3" fmla="*/ 17295 h 21600"/>
                <a:gd name="T4" fmla="*/ 18205 w 21600"/>
                <a:gd name="T5" fmla="*/ 17295 h 21600"/>
                <a:gd name="T6" fmla="*/ 18205 w 21600"/>
                <a:gd name="T7" fmla="*/ 17295 h 2160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1600" h="21600">
                  <a:moveTo>
                    <a:pt x="0" y="0"/>
                  </a:moveTo>
                  <a:lnTo>
                    <a:pt x="21599" y="0"/>
                  </a:lnTo>
                  <a:lnTo>
                    <a:pt x="21599" y="21599"/>
                  </a:lnTo>
                  <a:lnTo>
                    <a:pt x="0" y="2159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miter lim="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7"/>
                      </a:srgbClr>
                    </a:outerShdw>
                  </a:effectLst>
                </a14:hiddenEffects>
              </a:ext>
            </a:extLst>
          </p:spPr>
          <p:txBody>
            <a:bodyPr lIns="0" tIns="0" rIns="0" bIns="0"/>
            <a:lstStyle>
              <a:defPPr>
                <a:defRPr lang="es-ES"/>
              </a:defPPr>
              <a:lvl1pPr algn="l" rtl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1pPr>
              <a:lvl2pPr marL="457200" algn="l" rtl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2pPr>
              <a:lvl3pPr marL="914400" algn="l" rtl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3pPr>
              <a:lvl4pPr marL="1371600" algn="l" rtl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4pPr>
              <a:lvl5pPr marL="1828800" algn="l" rtl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9pPr>
            </a:lstStyle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14" name="深度视觉·原创设计 https://www.docer.com/works?userid=22383862"/>
            <p:cNvSpPr/>
            <p:nvPr/>
          </p:nvSpPr>
          <p:spPr bwMode="auto">
            <a:xfrm>
              <a:off x="58254" y="225736"/>
              <a:ext cx="36410" cy="32769"/>
            </a:xfrm>
            <a:custGeom>
              <a:avLst/>
              <a:gdLst>
                <a:gd name="T0" fmla="*/ 18205 w 21600"/>
                <a:gd name="T1" fmla="*/ 16385 h 21600"/>
                <a:gd name="T2" fmla="*/ 18205 w 21600"/>
                <a:gd name="T3" fmla="*/ 16385 h 21600"/>
                <a:gd name="T4" fmla="*/ 18205 w 21600"/>
                <a:gd name="T5" fmla="*/ 16385 h 21600"/>
                <a:gd name="T6" fmla="*/ 18205 w 21600"/>
                <a:gd name="T7" fmla="*/ 16385 h 2160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1600" h="21600">
                  <a:moveTo>
                    <a:pt x="0" y="0"/>
                  </a:moveTo>
                  <a:lnTo>
                    <a:pt x="21599" y="0"/>
                  </a:lnTo>
                  <a:lnTo>
                    <a:pt x="21599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miter lim="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7"/>
                      </a:srgbClr>
                    </a:outerShdw>
                  </a:effectLst>
                </a14:hiddenEffects>
              </a:ext>
            </a:extLst>
          </p:spPr>
          <p:txBody>
            <a:bodyPr lIns="0" tIns="0" rIns="0" bIns="0"/>
            <a:lstStyle>
              <a:defPPr>
                <a:defRPr lang="es-ES"/>
              </a:defPPr>
              <a:lvl1pPr algn="l" rtl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1pPr>
              <a:lvl2pPr marL="457200" algn="l" rtl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2pPr>
              <a:lvl3pPr marL="914400" algn="l" rtl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3pPr>
              <a:lvl4pPr marL="1371600" algn="l" rtl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4pPr>
              <a:lvl5pPr marL="1828800" algn="l" rtl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9pPr>
            </a:lstStyle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15" name="深度视觉·原创设计 https://www.docer.com/works?userid=22383862"/>
            <p:cNvSpPr/>
            <p:nvPr/>
          </p:nvSpPr>
          <p:spPr bwMode="auto">
            <a:xfrm>
              <a:off x="169301" y="225736"/>
              <a:ext cx="36410" cy="32769"/>
            </a:xfrm>
            <a:custGeom>
              <a:avLst/>
              <a:gdLst>
                <a:gd name="T0" fmla="*/ 18205 w 21600"/>
                <a:gd name="T1" fmla="*/ 16385 h 21600"/>
                <a:gd name="T2" fmla="*/ 18205 w 21600"/>
                <a:gd name="T3" fmla="*/ 16385 h 21600"/>
                <a:gd name="T4" fmla="*/ 18205 w 21600"/>
                <a:gd name="T5" fmla="*/ 16385 h 21600"/>
                <a:gd name="T6" fmla="*/ 18205 w 21600"/>
                <a:gd name="T7" fmla="*/ 16385 h 2160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1600" h="21600">
                  <a:moveTo>
                    <a:pt x="0" y="0"/>
                  </a:moveTo>
                  <a:lnTo>
                    <a:pt x="21599" y="0"/>
                  </a:lnTo>
                  <a:lnTo>
                    <a:pt x="21599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miter lim="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7"/>
                      </a:srgbClr>
                    </a:outerShdw>
                  </a:effectLst>
                </a14:hiddenEffects>
              </a:ext>
            </a:extLst>
          </p:spPr>
          <p:txBody>
            <a:bodyPr lIns="0" tIns="0" rIns="0" bIns="0"/>
            <a:lstStyle>
              <a:defPPr>
                <a:defRPr lang="es-ES"/>
              </a:defPPr>
              <a:lvl1pPr algn="l" rtl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1pPr>
              <a:lvl2pPr marL="457200" algn="l" rtl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2pPr>
              <a:lvl3pPr marL="914400" algn="l" rtl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3pPr>
              <a:lvl4pPr marL="1371600" algn="l" rtl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4pPr>
              <a:lvl5pPr marL="1828800" algn="l" rtl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9pPr>
            </a:lstStyle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16" name="深度视觉·原创设计 https://www.docer.com/works?userid=22383862"/>
            <p:cNvSpPr/>
            <p:nvPr/>
          </p:nvSpPr>
          <p:spPr bwMode="auto">
            <a:xfrm>
              <a:off x="225736" y="225736"/>
              <a:ext cx="36410" cy="32769"/>
            </a:xfrm>
            <a:custGeom>
              <a:avLst/>
              <a:gdLst>
                <a:gd name="T0" fmla="*/ 18205 w 21600"/>
                <a:gd name="T1" fmla="*/ 16385 h 21600"/>
                <a:gd name="T2" fmla="*/ 18205 w 21600"/>
                <a:gd name="T3" fmla="*/ 16385 h 21600"/>
                <a:gd name="T4" fmla="*/ 18205 w 21600"/>
                <a:gd name="T5" fmla="*/ 16385 h 21600"/>
                <a:gd name="T6" fmla="*/ 18205 w 21600"/>
                <a:gd name="T7" fmla="*/ 16385 h 2160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1600" h="21600">
                  <a:moveTo>
                    <a:pt x="0" y="0"/>
                  </a:moveTo>
                  <a:lnTo>
                    <a:pt x="21599" y="0"/>
                  </a:lnTo>
                  <a:lnTo>
                    <a:pt x="21599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miter lim="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7"/>
                      </a:srgbClr>
                    </a:outerShdw>
                  </a:effectLst>
                </a14:hiddenEffects>
              </a:ext>
            </a:extLst>
          </p:spPr>
          <p:txBody>
            <a:bodyPr lIns="0" tIns="0" rIns="0" bIns="0"/>
            <a:lstStyle>
              <a:defPPr>
                <a:defRPr lang="es-ES"/>
              </a:defPPr>
              <a:lvl1pPr algn="l" rtl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1pPr>
              <a:lvl2pPr marL="457200" algn="l" rtl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2pPr>
              <a:lvl3pPr marL="914400" algn="l" rtl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3pPr>
              <a:lvl4pPr marL="1371600" algn="l" rtl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4pPr>
              <a:lvl5pPr marL="1828800" algn="l" rtl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9pPr>
            </a:lstStyle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17" name="深度视觉·原创设计 https://www.docer.com/works?userid=22383862"/>
            <p:cNvSpPr/>
            <p:nvPr/>
          </p:nvSpPr>
          <p:spPr bwMode="auto">
            <a:xfrm>
              <a:off x="-1" y="21845"/>
              <a:ext cx="320400" cy="287633"/>
            </a:xfrm>
            <a:custGeom>
              <a:avLst/>
              <a:gdLst>
                <a:gd name="T0" fmla="*/ 160200 w 21600"/>
                <a:gd name="T1" fmla="*/ 143817 h 21600"/>
                <a:gd name="T2" fmla="*/ 160200 w 21600"/>
                <a:gd name="T3" fmla="*/ 143817 h 21600"/>
                <a:gd name="T4" fmla="*/ 160200 w 21600"/>
                <a:gd name="T5" fmla="*/ 143817 h 21600"/>
                <a:gd name="T6" fmla="*/ 160200 w 21600"/>
                <a:gd name="T7" fmla="*/ 143817 h 2160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1600" h="21600">
                  <a:moveTo>
                    <a:pt x="21354" y="0"/>
                  </a:moveTo>
                  <a:lnTo>
                    <a:pt x="18409" y="0"/>
                  </a:lnTo>
                  <a:lnTo>
                    <a:pt x="18409" y="2187"/>
                  </a:lnTo>
                  <a:lnTo>
                    <a:pt x="15463" y="2187"/>
                  </a:lnTo>
                  <a:lnTo>
                    <a:pt x="15463" y="0"/>
                  </a:lnTo>
                  <a:lnTo>
                    <a:pt x="6381" y="0"/>
                  </a:lnTo>
                  <a:lnTo>
                    <a:pt x="6381" y="2187"/>
                  </a:lnTo>
                  <a:lnTo>
                    <a:pt x="3436" y="2187"/>
                  </a:lnTo>
                  <a:lnTo>
                    <a:pt x="3436" y="0"/>
                  </a:lnTo>
                  <a:lnTo>
                    <a:pt x="0" y="0"/>
                  </a:lnTo>
                  <a:lnTo>
                    <a:pt x="0" y="21599"/>
                  </a:lnTo>
                  <a:lnTo>
                    <a:pt x="21599" y="21599"/>
                  </a:lnTo>
                  <a:lnTo>
                    <a:pt x="21354" y="0"/>
                  </a:lnTo>
                  <a:close/>
                  <a:moveTo>
                    <a:pt x="19881" y="19686"/>
                  </a:moveTo>
                  <a:lnTo>
                    <a:pt x="1595" y="19686"/>
                  </a:lnTo>
                  <a:lnTo>
                    <a:pt x="1595" y="6015"/>
                  </a:lnTo>
                  <a:lnTo>
                    <a:pt x="19881" y="6015"/>
                  </a:lnTo>
                  <a:lnTo>
                    <a:pt x="19881" y="1968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miter lim="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7"/>
                      </a:srgbClr>
                    </a:outerShdw>
                  </a:effectLst>
                </a14:hiddenEffects>
              </a:ext>
            </a:extLst>
          </p:spPr>
          <p:txBody>
            <a:bodyPr lIns="0" tIns="0" rIns="0" bIns="0"/>
            <a:lstStyle>
              <a:defPPr>
                <a:defRPr lang="es-ES"/>
              </a:defPPr>
              <a:lvl1pPr algn="l" rtl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1pPr>
              <a:lvl2pPr marL="457200" algn="l" rtl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2pPr>
              <a:lvl3pPr marL="914400" algn="l" rtl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3pPr>
              <a:lvl4pPr marL="1371600" algn="l" rtl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4pPr>
              <a:lvl5pPr marL="1828800" algn="l" rtl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9pPr>
            </a:lstStyle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18" name="深度视觉·原创设计 https://www.docer.com/works?userid=22383862"/>
            <p:cNvSpPr/>
            <p:nvPr/>
          </p:nvSpPr>
          <p:spPr bwMode="auto">
            <a:xfrm>
              <a:off x="60074" y="0"/>
              <a:ext cx="27308" cy="43692"/>
            </a:xfrm>
            <a:custGeom>
              <a:avLst/>
              <a:gdLst>
                <a:gd name="T0" fmla="*/ 13654 w 21600"/>
                <a:gd name="T1" fmla="*/ 21846 h 21600"/>
                <a:gd name="T2" fmla="*/ 13654 w 21600"/>
                <a:gd name="T3" fmla="*/ 21846 h 21600"/>
                <a:gd name="T4" fmla="*/ 13654 w 21600"/>
                <a:gd name="T5" fmla="*/ 21846 h 21600"/>
                <a:gd name="T6" fmla="*/ 13654 w 21600"/>
                <a:gd name="T7" fmla="*/ 21846 h 2160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599"/>
                  </a:lnTo>
                  <a:lnTo>
                    <a:pt x="0" y="2159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miter lim="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7"/>
                      </a:srgbClr>
                    </a:outerShdw>
                  </a:effectLst>
                </a14:hiddenEffects>
              </a:ext>
            </a:extLst>
          </p:spPr>
          <p:txBody>
            <a:bodyPr lIns="0" tIns="0" rIns="0" bIns="0"/>
            <a:lstStyle>
              <a:defPPr>
                <a:defRPr lang="es-ES"/>
              </a:defPPr>
              <a:lvl1pPr algn="l" rtl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1pPr>
              <a:lvl2pPr marL="457200" algn="l" rtl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2pPr>
              <a:lvl3pPr marL="914400" algn="l" rtl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3pPr>
              <a:lvl4pPr marL="1371600" algn="l" rtl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4pPr>
              <a:lvl5pPr marL="1828800" algn="l" rtl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9pPr>
            </a:lstStyle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19" name="深度视觉·原创设计 https://www.docer.com/works?userid=22383862"/>
            <p:cNvSpPr/>
            <p:nvPr/>
          </p:nvSpPr>
          <p:spPr bwMode="auto">
            <a:xfrm>
              <a:off x="240299" y="0"/>
              <a:ext cx="25487" cy="43692"/>
            </a:xfrm>
            <a:custGeom>
              <a:avLst/>
              <a:gdLst>
                <a:gd name="T0" fmla="*/ 12744 w 21600"/>
                <a:gd name="T1" fmla="*/ 21846 h 21600"/>
                <a:gd name="T2" fmla="*/ 12744 w 21600"/>
                <a:gd name="T3" fmla="*/ 21846 h 21600"/>
                <a:gd name="T4" fmla="*/ 12744 w 21600"/>
                <a:gd name="T5" fmla="*/ 21846 h 21600"/>
                <a:gd name="T6" fmla="*/ 12744 w 21600"/>
                <a:gd name="T7" fmla="*/ 21846 h 2160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1600" h="21600">
                  <a:moveTo>
                    <a:pt x="0" y="0"/>
                  </a:moveTo>
                  <a:lnTo>
                    <a:pt x="21599" y="0"/>
                  </a:lnTo>
                  <a:lnTo>
                    <a:pt x="21599" y="21599"/>
                  </a:lnTo>
                  <a:lnTo>
                    <a:pt x="0" y="2159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miter lim="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7"/>
                      </a:srgbClr>
                    </a:outerShdw>
                  </a:effectLst>
                </a14:hiddenEffects>
              </a:ext>
            </a:extLst>
          </p:spPr>
          <p:txBody>
            <a:bodyPr lIns="0" tIns="0" rIns="0" bIns="0"/>
            <a:lstStyle>
              <a:defPPr>
                <a:defRPr lang="es-ES"/>
              </a:defPPr>
              <a:lvl1pPr algn="l" rtl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1pPr>
              <a:lvl2pPr marL="457200" algn="l" rtl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2pPr>
              <a:lvl3pPr marL="914400" algn="l" rtl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3pPr>
              <a:lvl4pPr marL="1371600" algn="l" rtl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4pPr>
              <a:lvl5pPr marL="1828800" algn="l" rtl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9pPr>
            </a:lstStyle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</p:grpSp>
      <p:sp>
        <p:nvSpPr>
          <p:cNvPr id="20" name="深度视觉·原创设计 https://www.docer.com/works?userid=22383862"/>
          <p:cNvSpPr/>
          <p:nvPr/>
        </p:nvSpPr>
        <p:spPr bwMode="auto">
          <a:xfrm>
            <a:off x="7858415" y="1955006"/>
            <a:ext cx="594229" cy="598487"/>
          </a:xfrm>
          <a:custGeom>
            <a:avLst/>
            <a:gdLst>
              <a:gd name="T0" fmla="*/ 297099 w 19679"/>
              <a:gd name="T1" fmla="*/ 327989 h 19679"/>
              <a:gd name="T2" fmla="*/ 297099 w 19679"/>
              <a:gd name="T3" fmla="*/ 327989 h 19679"/>
              <a:gd name="T4" fmla="*/ 297099 w 19679"/>
              <a:gd name="T5" fmla="*/ 327989 h 19679"/>
              <a:gd name="T6" fmla="*/ 297099 w 19679"/>
              <a:gd name="T7" fmla="*/ 327989 h 19679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19679" h="19679">
                <a:moveTo>
                  <a:pt x="16796" y="2881"/>
                </a:moveTo>
                <a:cubicBezTo>
                  <a:pt x="20638" y="6724"/>
                  <a:pt x="20638" y="12953"/>
                  <a:pt x="16796" y="16796"/>
                </a:cubicBezTo>
                <a:cubicBezTo>
                  <a:pt x="12953" y="20639"/>
                  <a:pt x="6724" y="20639"/>
                  <a:pt x="2881" y="16796"/>
                </a:cubicBezTo>
                <a:cubicBezTo>
                  <a:pt x="-961" y="12953"/>
                  <a:pt x="-961" y="6724"/>
                  <a:pt x="2881" y="2881"/>
                </a:cubicBezTo>
                <a:cubicBezTo>
                  <a:pt x="6724" y="-961"/>
                  <a:pt x="12953" y="-961"/>
                  <a:pt x="16796" y="2881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lIns="0" tIns="0" rIns="0" bIns="0" anchor="ctr"/>
          <a:lstStyle>
            <a:defPPr>
              <a:defRPr lang="es-ES"/>
            </a:defPPr>
            <a:lvl1pPr algn="l" rtl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rgbClr val="000000"/>
                </a:solidFill>
                <a:latin typeface="Calibri" panose="020F0502020204030204" charset="0"/>
                <a:ea typeface="MS PGothic" panose="020B0600070205080204" pitchFamily="34" charset="-128"/>
                <a:cs typeface="+mn-cs"/>
                <a:sym typeface="Calibri" panose="020F0502020204030204" charset="0"/>
              </a:defRPr>
            </a:lvl1pPr>
            <a:lvl2pPr marL="457200" algn="l" rtl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rgbClr val="000000"/>
                </a:solidFill>
                <a:latin typeface="Calibri" panose="020F0502020204030204" charset="0"/>
                <a:ea typeface="MS PGothic" panose="020B0600070205080204" pitchFamily="34" charset="-128"/>
                <a:cs typeface="+mn-cs"/>
                <a:sym typeface="Calibri" panose="020F0502020204030204" charset="0"/>
              </a:defRPr>
            </a:lvl2pPr>
            <a:lvl3pPr marL="914400" algn="l" rtl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rgbClr val="000000"/>
                </a:solidFill>
                <a:latin typeface="Calibri" panose="020F0502020204030204" charset="0"/>
                <a:ea typeface="MS PGothic" panose="020B0600070205080204" pitchFamily="34" charset="-128"/>
                <a:cs typeface="+mn-cs"/>
                <a:sym typeface="Calibri" panose="020F0502020204030204" charset="0"/>
              </a:defRPr>
            </a:lvl3pPr>
            <a:lvl4pPr marL="1371600" algn="l" rtl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rgbClr val="000000"/>
                </a:solidFill>
                <a:latin typeface="Calibri" panose="020F0502020204030204" charset="0"/>
                <a:ea typeface="MS PGothic" panose="020B0600070205080204" pitchFamily="34" charset="-128"/>
                <a:cs typeface="+mn-cs"/>
                <a:sym typeface="Calibri" panose="020F0502020204030204" charset="0"/>
              </a:defRPr>
            </a:lvl4pPr>
            <a:lvl5pPr marL="1828800" algn="l" rtl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rgbClr val="000000"/>
                </a:solidFill>
                <a:latin typeface="Calibri" panose="020F0502020204030204" charset="0"/>
                <a:ea typeface="MS PGothic" panose="020B0600070205080204" pitchFamily="34" charset="-128"/>
                <a:cs typeface="+mn-cs"/>
                <a:sym typeface="Calibri" panose="020F0502020204030204" charset="0"/>
              </a:defRPr>
            </a:lvl5pPr>
            <a:lvl6pPr marL="2286000" algn="l" defTabSz="914400" rtl="0" eaLnBrk="1" latinLnBrk="0" hangingPunct="1">
              <a:defRPr kern="1200">
                <a:solidFill>
                  <a:srgbClr val="000000"/>
                </a:solidFill>
                <a:latin typeface="Calibri" panose="020F0502020204030204" charset="0"/>
                <a:ea typeface="MS PGothic" panose="020B0600070205080204" pitchFamily="34" charset="-128"/>
                <a:cs typeface="+mn-cs"/>
                <a:sym typeface="Calibri" panose="020F0502020204030204" charset="0"/>
              </a:defRPr>
            </a:lvl6pPr>
            <a:lvl7pPr marL="2743200" algn="l" defTabSz="914400" rtl="0" eaLnBrk="1" latinLnBrk="0" hangingPunct="1">
              <a:defRPr kern="1200">
                <a:solidFill>
                  <a:srgbClr val="000000"/>
                </a:solidFill>
                <a:latin typeface="Calibri" panose="020F0502020204030204" charset="0"/>
                <a:ea typeface="MS PGothic" panose="020B0600070205080204" pitchFamily="34" charset="-128"/>
                <a:cs typeface="+mn-cs"/>
                <a:sym typeface="Calibri" panose="020F0502020204030204" charset="0"/>
              </a:defRPr>
            </a:lvl7pPr>
            <a:lvl8pPr marL="3200400" algn="l" defTabSz="914400" rtl="0" eaLnBrk="1" latinLnBrk="0" hangingPunct="1">
              <a:defRPr kern="1200">
                <a:solidFill>
                  <a:srgbClr val="000000"/>
                </a:solidFill>
                <a:latin typeface="Calibri" panose="020F0502020204030204" charset="0"/>
                <a:ea typeface="MS PGothic" panose="020B0600070205080204" pitchFamily="34" charset="-128"/>
                <a:cs typeface="+mn-cs"/>
                <a:sym typeface="Calibri" panose="020F0502020204030204" charset="0"/>
              </a:defRPr>
            </a:lvl8pPr>
            <a:lvl9pPr marL="3657600" algn="l" defTabSz="914400" rtl="0" eaLnBrk="1" latinLnBrk="0" hangingPunct="1">
              <a:defRPr kern="1200">
                <a:solidFill>
                  <a:srgbClr val="000000"/>
                </a:solidFill>
                <a:latin typeface="Calibri" panose="020F0502020204030204" charset="0"/>
                <a:ea typeface="MS PGothic" panose="020B0600070205080204" pitchFamily="34" charset="-128"/>
                <a:cs typeface="+mn-cs"/>
                <a:sym typeface="Calibri" panose="020F0502020204030204" charset="0"/>
              </a:defRPr>
            </a:lvl9pPr>
          </a:lstStyle>
          <a:p>
            <a:endParaRPr lang="en-US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21" name="深度视觉·原创设计 https://www.docer.com/works?userid=22383862"/>
          <p:cNvSpPr/>
          <p:nvPr/>
        </p:nvSpPr>
        <p:spPr bwMode="auto">
          <a:xfrm flipH="1">
            <a:off x="7157243" y="2254247"/>
            <a:ext cx="701175" cy="299244"/>
          </a:xfrm>
          <a:custGeom>
            <a:avLst/>
            <a:gdLst>
              <a:gd name="T0" fmla="*/ 350588 w 21600"/>
              <a:gd name="T1" fmla="*/ 149410 h 21600"/>
              <a:gd name="T2" fmla="*/ 350588 w 21600"/>
              <a:gd name="T3" fmla="*/ 149410 h 21600"/>
              <a:gd name="T4" fmla="*/ 350588 w 21600"/>
              <a:gd name="T5" fmla="*/ 149410 h 21600"/>
              <a:gd name="T6" fmla="*/ 350588 w 21600"/>
              <a:gd name="T7" fmla="*/ 149410 h 21600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1600" h="21600">
                <a:moveTo>
                  <a:pt x="0" y="0"/>
                </a:moveTo>
                <a:lnTo>
                  <a:pt x="10800" y="0"/>
                </a:lnTo>
                <a:lnTo>
                  <a:pt x="10800" y="21599"/>
                </a:lnTo>
                <a:lnTo>
                  <a:pt x="21599" y="21599"/>
                </a:lnTo>
              </a:path>
            </a:pathLst>
          </a:custGeom>
          <a:noFill/>
          <a:ln w="9525" cap="flat" cmpd="sng">
            <a:solidFill>
              <a:srgbClr val="BFBFBF"/>
            </a:solidFill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7"/>
                    </a:srgbClr>
                  </a:outerShdw>
                </a:effectLst>
              </a14:hiddenEffects>
            </a:ext>
          </a:extLst>
        </p:spPr>
        <p:txBody>
          <a:bodyPr lIns="0" tIns="0" rIns="0" bIns="0" anchor="ctr"/>
          <a:lstStyle>
            <a:defPPr>
              <a:defRPr lang="es-ES"/>
            </a:defPPr>
            <a:lvl1pPr algn="l" rtl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rgbClr val="000000"/>
                </a:solidFill>
                <a:latin typeface="Calibri" panose="020F0502020204030204" charset="0"/>
                <a:ea typeface="MS PGothic" panose="020B0600070205080204" pitchFamily="34" charset="-128"/>
                <a:cs typeface="+mn-cs"/>
                <a:sym typeface="Calibri" panose="020F0502020204030204" charset="0"/>
              </a:defRPr>
            </a:lvl1pPr>
            <a:lvl2pPr marL="457200" algn="l" rtl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rgbClr val="000000"/>
                </a:solidFill>
                <a:latin typeface="Calibri" panose="020F0502020204030204" charset="0"/>
                <a:ea typeface="MS PGothic" panose="020B0600070205080204" pitchFamily="34" charset="-128"/>
                <a:cs typeface="+mn-cs"/>
                <a:sym typeface="Calibri" panose="020F0502020204030204" charset="0"/>
              </a:defRPr>
            </a:lvl2pPr>
            <a:lvl3pPr marL="914400" algn="l" rtl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rgbClr val="000000"/>
                </a:solidFill>
                <a:latin typeface="Calibri" panose="020F0502020204030204" charset="0"/>
                <a:ea typeface="MS PGothic" panose="020B0600070205080204" pitchFamily="34" charset="-128"/>
                <a:cs typeface="+mn-cs"/>
                <a:sym typeface="Calibri" panose="020F0502020204030204" charset="0"/>
              </a:defRPr>
            </a:lvl3pPr>
            <a:lvl4pPr marL="1371600" algn="l" rtl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rgbClr val="000000"/>
                </a:solidFill>
                <a:latin typeface="Calibri" panose="020F0502020204030204" charset="0"/>
                <a:ea typeface="MS PGothic" panose="020B0600070205080204" pitchFamily="34" charset="-128"/>
                <a:cs typeface="+mn-cs"/>
                <a:sym typeface="Calibri" panose="020F0502020204030204" charset="0"/>
              </a:defRPr>
            </a:lvl4pPr>
            <a:lvl5pPr marL="1828800" algn="l" rtl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rgbClr val="000000"/>
                </a:solidFill>
                <a:latin typeface="Calibri" panose="020F0502020204030204" charset="0"/>
                <a:ea typeface="MS PGothic" panose="020B0600070205080204" pitchFamily="34" charset="-128"/>
                <a:cs typeface="+mn-cs"/>
                <a:sym typeface="Calibri" panose="020F0502020204030204" charset="0"/>
              </a:defRPr>
            </a:lvl5pPr>
            <a:lvl6pPr marL="2286000" algn="l" defTabSz="914400" rtl="0" eaLnBrk="1" latinLnBrk="0" hangingPunct="1">
              <a:defRPr kern="1200">
                <a:solidFill>
                  <a:srgbClr val="000000"/>
                </a:solidFill>
                <a:latin typeface="Calibri" panose="020F0502020204030204" charset="0"/>
                <a:ea typeface="MS PGothic" panose="020B0600070205080204" pitchFamily="34" charset="-128"/>
                <a:cs typeface="+mn-cs"/>
                <a:sym typeface="Calibri" panose="020F0502020204030204" charset="0"/>
              </a:defRPr>
            </a:lvl6pPr>
            <a:lvl7pPr marL="2743200" algn="l" defTabSz="914400" rtl="0" eaLnBrk="1" latinLnBrk="0" hangingPunct="1">
              <a:defRPr kern="1200">
                <a:solidFill>
                  <a:srgbClr val="000000"/>
                </a:solidFill>
                <a:latin typeface="Calibri" panose="020F0502020204030204" charset="0"/>
                <a:ea typeface="MS PGothic" panose="020B0600070205080204" pitchFamily="34" charset="-128"/>
                <a:cs typeface="+mn-cs"/>
                <a:sym typeface="Calibri" panose="020F0502020204030204" charset="0"/>
              </a:defRPr>
            </a:lvl7pPr>
            <a:lvl8pPr marL="3200400" algn="l" defTabSz="914400" rtl="0" eaLnBrk="1" latinLnBrk="0" hangingPunct="1">
              <a:defRPr kern="1200">
                <a:solidFill>
                  <a:srgbClr val="000000"/>
                </a:solidFill>
                <a:latin typeface="Calibri" panose="020F0502020204030204" charset="0"/>
                <a:ea typeface="MS PGothic" panose="020B0600070205080204" pitchFamily="34" charset="-128"/>
                <a:cs typeface="+mn-cs"/>
                <a:sym typeface="Calibri" panose="020F0502020204030204" charset="0"/>
              </a:defRPr>
            </a:lvl8pPr>
            <a:lvl9pPr marL="3657600" algn="l" defTabSz="914400" rtl="0" eaLnBrk="1" latinLnBrk="0" hangingPunct="1">
              <a:defRPr kern="1200">
                <a:solidFill>
                  <a:srgbClr val="000000"/>
                </a:solidFill>
                <a:latin typeface="Calibri" panose="020F0502020204030204" charset="0"/>
                <a:ea typeface="MS PGothic" panose="020B0600070205080204" pitchFamily="34" charset="-128"/>
                <a:cs typeface="+mn-cs"/>
                <a:sym typeface="Calibri" panose="020F0502020204030204" charset="0"/>
              </a:defRPr>
            </a:lvl9pPr>
          </a:lstStyle>
          <a:p>
            <a:endParaRPr lang="en-US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22" name="深度视觉·原创设计 https://www.docer.com/works?userid=22383862"/>
          <p:cNvSpPr/>
          <p:nvPr/>
        </p:nvSpPr>
        <p:spPr bwMode="auto">
          <a:xfrm>
            <a:off x="7973408" y="2117708"/>
            <a:ext cx="380475" cy="257049"/>
          </a:xfrm>
          <a:custGeom>
            <a:avLst/>
            <a:gdLst>
              <a:gd name="T0" fmla="*/ 190238 w 21600"/>
              <a:gd name="T1" fmla="*/ 128343 h 21600"/>
              <a:gd name="T2" fmla="*/ 190238 w 21600"/>
              <a:gd name="T3" fmla="*/ 128343 h 21600"/>
              <a:gd name="T4" fmla="*/ 190238 w 21600"/>
              <a:gd name="T5" fmla="*/ 128343 h 21600"/>
              <a:gd name="T6" fmla="*/ 190238 w 21600"/>
              <a:gd name="T7" fmla="*/ 128343 h 21600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1600" h="21600">
                <a:moveTo>
                  <a:pt x="18573" y="9373"/>
                </a:moveTo>
                <a:cubicBezTo>
                  <a:pt x="18710" y="8762"/>
                  <a:pt x="18710" y="8150"/>
                  <a:pt x="18710" y="7539"/>
                </a:cubicBezTo>
                <a:cubicBezTo>
                  <a:pt x="18710" y="3260"/>
                  <a:pt x="16509" y="0"/>
                  <a:pt x="13620" y="0"/>
                </a:cubicBezTo>
                <a:cubicBezTo>
                  <a:pt x="10456" y="0"/>
                  <a:pt x="10043" y="3667"/>
                  <a:pt x="10043" y="3667"/>
                </a:cubicBezTo>
                <a:cubicBezTo>
                  <a:pt x="10043" y="3667"/>
                  <a:pt x="8667" y="1222"/>
                  <a:pt x="6191" y="1630"/>
                </a:cubicBezTo>
                <a:cubicBezTo>
                  <a:pt x="4127" y="2241"/>
                  <a:pt x="2614" y="5094"/>
                  <a:pt x="2614" y="7947"/>
                </a:cubicBezTo>
                <a:cubicBezTo>
                  <a:pt x="2614" y="8558"/>
                  <a:pt x="2751" y="8966"/>
                  <a:pt x="2751" y="9577"/>
                </a:cubicBezTo>
                <a:cubicBezTo>
                  <a:pt x="1238" y="10392"/>
                  <a:pt x="0" y="12633"/>
                  <a:pt x="0" y="15283"/>
                </a:cubicBezTo>
                <a:cubicBezTo>
                  <a:pt x="0" y="18747"/>
                  <a:pt x="1926" y="21599"/>
                  <a:pt x="4264" y="21599"/>
                </a:cubicBezTo>
                <a:cubicBezTo>
                  <a:pt x="17335" y="21599"/>
                  <a:pt x="17335" y="21599"/>
                  <a:pt x="17335" y="21599"/>
                </a:cubicBezTo>
                <a:cubicBezTo>
                  <a:pt x="19673" y="21599"/>
                  <a:pt x="21599" y="18747"/>
                  <a:pt x="21599" y="15283"/>
                </a:cubicBezTo>
                <a:cubicBezTo>
                  <a:pt x="21599" y="12633"/>
                  <a:pt x="20361" y="10188"/>
                  <a:pt x="18573" y="9373"/>
                </a:cubicBezTo>
                <a:close/>
                <a:moveTo>
                  <a:pt x="16509" y="20377"/>
                </a:moveTo>
                <a:cubicBezTo>
                  <a:pt x="10868" y="20377"/>
                  <a:pt x="10868" y="20377"/>
                  <a:pt x="10868" y="20377"/>
                </a:cubicBezTo>
                <a:cubicBezTo>
                  <a:pt x="11281" y="19766"/>
                  <a:pt x="14170" y="15283"/>
                  <a:pt x="14170" y="15283"/>
                </a:cubicBezTo>
                <a:cubicBezTo>
                  <a:pt x="14170" y="15283"/>
                  <a:pt x="14583" y="14671"/>
                  <a:pt x="14033" y="14671"/>
                </a:cubicBezTo>
                <a:cubicBezTo>
                  <a:pt x="13482" y="14671"/>
                  <a:pt x="12657" y="14671"/>
                  <a:pt x="12657" y="14671"/>
                </a:cubicBezTo>
                <a:cubicBezTo>
                  <a:pt x="12657" y="14671"/>
                  <a:pt x="12657" y="14264"/>
                  <a:pt x="12657" y="13856"/>
                </a:cubicBezTo>
                <a:cubicBezTo>
                  <a:pt x="12657" y="12022"/>
                  <a:pt x="12657" y="8762"/>
                  <a:pt x="12657" y="7539"/>
                </a:cubicBezTo>
                <a:cubicBezTo>
                  <a:pt x="12657" y="7539"/>
                  <a:pt x="12657" y="7132"/>
                  <a:pt x="12382" y="7132"/>
                </a:cubicBezTo>
                <a:cubicBezTo>
                  <a:pt x="12107" y="7132"/>
                  <a:pt x="9217" y="7132"/>
                  <a:pt x="8805" y="7132"/>
                </a:cubicBezTo>
                <a:cubicBezTo>
                  <a:pt x="8392" y="7132"/>
                  <a:pt x="8529" y="7539"/>
                  <a:pt x="8529" y="7539"/>
                </a:cubicBezTo>
                <a:cubicBezTo>
                  <a:pt x="8529" y="8966"/>
                  <a:pt x="8529" y="12022"/>
                  <a:pt x="8529" y="13856"/>
                </a:cubicBezTo>
                <a:cubicBezTo>
                  <a:pt x="8529" y="14467"/>
                  <a:pt x="8529" y="14875"/>
                  <a:pt x="8529" y="14875"/>
                </a:cubicBezTo>
                <a:cubicBezTo>
                  <a:pt x="8529" y="14875"/>
                  <a:pt x="7429" y="14875"/>
                  <a:pt x="7016" y="14875"/>
                </a:cubicBezTo>
                <a:cubicBezTo>
                  <a:pt x="6466" y="14875"/>
                  <a:pt x="6878" y="15486"/>
                  <a:pt x="6878" y="15486"/>
                </a:cubicBezTo>
                <a:cubicBezTo>
                  <a:pt x="10318" y="20377"/>
                  <a:pt x="10318" y="20377"/>
                  <a:pt x="10318" y="20377"/>
                </a:cubicBezTo>
                <a:cubicBezTo>
                  <a:pt x="5228" y="20377"/>
                  <a:pt x="5228" y="20377"/>
                  <a:pt x="5228" y="20377"/>
                </a:cubicBezTo>
                <a:cubicBezTo>
                  <a:pt x="3164" y="20377"/>
                  <a:pt x="1513" y="17932"/>
                  <a:pt x="1513" y="15079"/>
                </a:cubicBezTo>
                <a:cubicBezTo>
                  <a:pt x="1513" y="12837"/>
                  <a:pt x="2476" y="10800"/>
                  <a:pt x="3989" y="10188"/>
                </a:cubicBezTo>
                <a:cubicBezTo>
                  <a:pt x="3852" y="9781"/>
                  <a:pt x="3852" y="9373"/>
                  <a:pt x="3852" y="8966"/>
                </a:cubicBezTo>
                <a:cubicBezTo>
                  <a:pt x="3852" y="6316"/>
                  <a:pt x="5090" y="3871"/>
                  <a:pt x="6878" y="3464"/>
                </a:cubicBezTo>
                <a:cubicBezTo>
                  <a:pt x="8942" y="3056"/>
                  <a:pt x="10180" y="5909"/>
                  <a:pt x="10180" y="5909"/>
                </a:cubicBezTo>
                <a:cubicBezTo>
                  <a:pt x="10180" y="5909"/>
                  <a:pt x="10593" y="2037"/>
                  <a:pt x="13345" y="2037"/>
                </a:cubicBezTo>
                <a:cubicBezTo>
                  <a:pt x="15821" y="2037"/>
                  <a:pt x="17610" y="4890"/>
                  <a:pt x="17610" y="8558"/>
                </a:cubicBezTo>
                <a:cubicBezTo>
                  <a:pt x="17610" y="8966"/>
                  <a:pt x="17472" y="9577"/>
                  <a:pt x="17472" y="9984"/>
                </a:cubicBezTo>
                <a:cubicBezTo>
                  <a:pt x="18985" y="10800"/>
                  <a:pt x="20224" y="12633"/>
                  <a:pt x="20224" y="15079"/>
                </a:cubicBezTo>
                <a:cubicBezTo>
                  <a:pt x="20224" y="17932"/>
                  <a:pt x="18573" y="20377"/>
                  <a:pt x="16509" y="2037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prstDash val="solid"/>
                <a:miter lim="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7"/>
                    </a:srgbClr>
                  </a:outerShdw>
                </a:effectLst>
              </a14:hiddenEffects>
            </a:ext>
          </a:extLst>
        </p:spPr>
        <p:txBody>
          <a:bodyPr lIns="0" tIns="0" rIns="0" bIns="0"/>
          <a:lstStyle>
            <a:defPPr>
              <a:defRPr lang="es-ES"/>
            </a:defPPr>
            <a:lvl1pPr algn="l" rtl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rgbClr val="000000"/>
                </a:solidFill>
                <a:latin typeface="Calibri" panose="020F0502020204030204" charset="0"/>
                <a:ea typeface="MS PGothic" panose="020B0600070205080204" pitchFamily="34" charset="-128"/>
                <a:cs typeface="+mn-cs"/>
                <a:sym typeface="Calibri" panose="020F0502020204030204" charset="0"/>
              </a:defRPr>
            </a:lvl1pPr>
            <a:lvl2pPr marL="457200" algn="l" rtl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rgbClr val="000000"/>
                </a:solidFill>
                <a:latin typeface="Calibri" panose="020F0502020204030204" charset="0"/>
                <a:ea typeface="MS PGothic" panose="020B0600070205080204" pitchFamily="34" charset="-128"/>
                <a:cs typeface="+mn-cs"/>
                <a:sym typeface="Calibri" panose="020F0502020204030204" charset="0"/>
              </a:defRPr>
            </a:lvl2pPr>
            <a:lvl3pPr marL="914400" algn="l" rtl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rgbClr val="000000"/>
                </a:solidFill>
                <a:latin typeface="Calibri" panose="020F0502020204030204" charset="0"/>
                <a:ea typeface="MS PGothic" panose="020B0600070205080204" pitchFamily="34" charset="-128"/>
                <a:cs typeface="+mn-cs"/>
                <a:sym typeface="Calibri" panose="020F0502020204030204" charset="0"/>
              </a:defRPr>
            </a:lvl3pPr>
            <a:lvl4pPr marL="1371600" algn="l" rtl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rgbClr val="000000"/>
                </a:solidFill>
                <a:latin typeface="Calibri" panose="020F0502020204030204" charset="0"/>
                <a:ea typeface="MS PGothic" panose="020B0600070205080204" pitchFamily="34" charset="-128"/>
                <a:cs typeface="+mn-cs"/>
                <a:sym typeface="Calibri" panose="020F0502020204030204" charset="0"/>
              </a:defRPr>
            </a:lvl4pPr>
            <a:lvl5pPr marL="1828800" algn="l" rtl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rgbClr val="000000"/>
                </a:solidFill>
                <a:latin typeface="Calibri" panose="020F0502020204030204" charset="0"/>
                <a:ea typeface="MS PGothic" panose="020B0600070205080204" pitchFamily="34" charset="-128"/>
                <a:cs typeface="+mn-cs"/>
                <a:sym typeface="Calibri" panose="020F0502020204030204" charset="0"/>
              </a:defRPr>
            </a:lvl5pPr>
            <a:lvl6pPr marL="2286000" algn="l" defTabSz="914400" rtl="0" eaLnBrk="1" latinLnBrk="0" hangingPunct="1">
              <a:defRPr kern="1200">
                <a:solidFill>
                  <a:srgbClr val="000000"/>
                </a:solidFill>
                <a:latin typeface="Calibri" panose="020F0502020204030204" charset="0"/>
                <a:ea typeface="MS PGothic" panose="020B0600070205080204" pitchFamily="34" charset="-128"/>
                <a:cs typeface="+mn-cs"/>
                <a:sym typeface="Calibri" panose="020F0502020204030204" charset="0"/>
              </a:defRPr>
            </a:lvl6pPr>
            <a:lvl7pPr marL="2743200" algn="l" defTabSz="914400" rtl="0" eaLnBrk="1" latinLnBrk="0" hangingPunct="1">
              <a:defRPr kern="1200">
                <a:solidFill>
                  <a:srgbClr val="000000"/>
                </a:solidFill>
                <a:latin typeface="Calibri" panose="020F0502020204030204" charset="0"/>
                <a:ea typeface="MS PGothic" panose="020B0600070205080204" pitchFamily="34" charset="-128"/>
                <a:cs typeface="+mn-cs"/>
                <a:sym typeface="Calibri" panose="020F0502020204030204" charset="0"/>
              </a:defRPr>
            </a:lvl7pPr>
            <a:lvl8pPr marL="3200400" algn="l" defTabSz="914400" rtl="0" eaLnBrk="1" latinLnBrk="0" hangingPunct="1">
              <a:defRPr kern="1200">
                <a:solidFill>
                  <a:srgbClr val="000000"/>
                </a:solidFill>
                <a:latin typeface="Calibri" panose="020F0502020204030204" charset="0"/>
                <a:ea typeface="MS PGothic" panose="020B0600070205080204" pitchFamily="34" charset="-128"/>
                <a:cs typeface="+mn-cs"/>
                <a:sym typeface="Calibri" panose="020F0502020204030204" charset="0"/>
              </a:defRPr>
            </a:lvl8pPr>
            <a:lvl9pPr marL="3657600" algn="l" defTabSz="914400" rtl="0" eaLnBrk="1" latinLnBrk="0" hangingPunct="1">
              <a:defRPr kern="1200">
                <a:solidFill>
                  <a:srgbClr val="000000"/>
                </a:solidFill>
                <a:latin typeface="Calibri" panose="020F0502020204030204" charset="0"/>
                <a:ea typeface="MS PGothic" panose="020B0600070205080204" pitchFamily="34" charset="-128"/>
                <a:cs typeface="+mn-cs"/>
                <a:sym typeface="Calibri" panose="020F0502020204030204" charset="0"/>
              </a:defRPr>
            </a:lvl9pPr>
          </a:lstStyle>
          <a:p>
            <a:endParaRPr lang="en-US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23" name="深度视觉·原创设计 https://www.docer.com/works?userid=22383862"/>
          <p:cNvSpPr/>
          <p:nvPr/>
        </p:nvSpPr>
        <p:spPr bwMode="auto">
          <a:xfrm>
            <a:off x="3273838" y="2095687"/>
            <a:ext cx="1525175" cy="915006"/>
          </a:xfrm>
          <a:custGeom>
            <a:avLst/>
            <a:gdLst>
              <a:gd name="T0" fmla="*/ 762000 w 21600"/>
              <a:gd name="T1" fmla="*/ 457201 h 21600"/>
              <a:gd name="T2" fmla="*/ 762000 w 21600"/>
              <a:gd name="T3" fmla="*/ 457201 h 21600"/>
              <a:gd name="T4" fmla="*/ 762000 w 21600"/>
              <a:gd name="T5" fmla="*/ 457201 h 21600"/>
              <a:gd name="T6" fmla="*/ 762000 w 21600"/>
              <a:gd name="T7" fmla="*/ 457201 h 21600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1600" h="21600">
                <a:moveTo>
                  <a:pt x="0" y="0"/>
                </a:moveTo>
                <a:lnTo>
                  <a:pt x="10800" y="0"/>
                </a:lnTo>
                <a:lnTo>
                  <a:pt x="10800" y="21600"/>
                </a:lnTo>
                <a:lnTo>
                  <a:pt x="21600" y="21600"/>
                </a:lnTo>
              </a:path>
            </a:pathLst>
          </a:custGeom>
          <a:noFill/>
          <a:ln w="9525" cap="flat" cmpd="sng">
            <a:solidFill>
              <a:srgbClr val="BFBFBF"/>
            </a:solidFill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7"/>
                    </a:srgbClr>
                  </a:outerShdw>
                </a:effectLst>
              </a14:hiddenEffects>
            </a:ext>
          </a:extLst>
        </p:spPr>
        <p:txBody>
          <a:bodyPr lIns="0" tIns="0" rIns="0" bIns="0" anchor="ctr"/>
          <a:lstStyle>
            <a:defPPr>
              <a:defRPr lang="es-ES"/>
            </a:defPPr>
            <a:lvl1pPr algn="l" rtl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rgbClr val="000000"/>
                </a:solidFill>
                <a:latin typeface="Calibri" panose="020F0502020204030204" charset="0"/>
                <a:ea typeface="MS PGothic" panose="020B0600070205080204" pitchFamily="34" charset="-128"/>
                <a:cs typeface="+mn-cs"/>
                <a:sym typeface="Calibri" panose="020F0502020204030204" charset="0"/>
              </a:defRPr>
            </a:lvl1pPr>
            <a:lvl2pPr marL="457200" algn="l" rtl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rgbClr val="000000"/>
                </a:solidFill>
                <a:latin typeface="Calibri" panose="020F0502020204030204" charset="0"/>
                <a:ea typeface="MS PGothic" panose="020B0600070205080204" pitchFamily="34" charset="-128"/>
                <a:cs typeface="+mn-cs"/>
                <a:sym typeface="Calibri" panose="020F0502020204030204" charset="0"/>
              </a:defRPr>
            </a:lvl2pPr>
            <a:lvl3pPr marL="914400" algn="l" rtl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rgbClr val="000000"/>
                </a:solidFill>
                <a:latin typeface="Calibri" panose="020F0502020204030204" charset="0"/>
                <a:ea typeface="MS PGothic" panose="020B0600070205080204" pitchFamily="34" charset="-128"/>
                <a:cs typeface="+mn-cs"/>
                <a:sym typeface="Calibri" panose="020F0502020204030204" charset="0"/>
              </a:defRPr>
            </a:lvl3pPr>
            <a:lvl4pPr marL="1371600" algn="l" rtl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rgbClr val="000000"/>
                </a:solidFill>
                <a:latin typeface="Calibri" panose="020F0502020204030204" charset="0"/>
                <a:ea typeface="MS PGothic" panose="020B0600070205080204" pitchFamily="34" charset="-128"/>
                <a:cs typeface="+mn-cs"/>
                <a:sym typeface="Calibri" panose="020F0502020204030204" charset="0"/>
              </a:defRPr>
            </a:lvl4pPr>
            <a:lvl5pPr marL="1828800" algn="l" rtl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rgbClr val="000000"/>
                </a:solidFill>
                <a:latin typeface="Calibri" panose="020F0502020204030204" charset="0"/>
                <a:ea typeface="MS PGothic" panose="020B0600070205080204" pitchFamily="34" charset="-128"/>
                <a:cs typeface="+mn-cs"/>
                <a:sym typeface="Calibri" panose="020F0502020204030204" charset="0"/>
              </a:defRPr>
            </a:lvl5pPr>
            <a:lvl6pPr marL="2286000" algn="l" defTabSz="914400" rtl="0" eaLnBrk="1" latinLnBrk="0" hangingPunct="1">
              <a:defRPr kern="1200">
                <a:solidFill>
                  <a:srgbClr val="000000"/>
                </a:solidFill>
                <a:latin typeface="Calibri" panose="020F0502020204030204" charset="0"/>
                <a:ea typeface="MS PGothic" panose="020B0600070205080204" pitchFamily="34" charset="-128"/>
                <a:cs typeface="+mn-cs"/>
                <a:sym typeface="Calibri" panose="020F0502020204030204" charset="0"/>
              </a:defRPr>
            </a:lvl6pPr>
            <a:lvl7pPr marL="2743200" algn="l" defTabSz="914400" rtl="0" eaLnBrk="1" latinLnBrk="0" hangingPunct="1">
              <a:defRPr kern="1200">
                <a:solidFill>
                  <a:srgbClr val="000000"/>
                </a:solidFill>
                <a:latin typeface="Calibri" panose="020F0502020204030204" charset="0"/>
                <a:ea typeface="MS PGothic" panose="020B0600070205080204" pitchFamily="34" charset="-128"/>
                <a:cs typeface="+mn-cs"/>
                <a:sym typeface="Calibri" panose="020F0502020204030204" charset="0"/>
              </a:defRPr>
            </a:lvl7pPr>
            <a:lvl8pPr marL="3200400" algn="l" defTabSz="914400" rtl="0" eaLnBrk="1" latinLnBrk="0" hangingPunct="1">
              <a:defRPr kern="1200">
                <a:solidFill>
                  <a:srgbClr val="000000"/>
                </a:solidFill>
                <a:latin typeface="Calibri" panose="020F0502020204030204" charset="0"/>
                <a:ea typeface="MS PGothic" panose="020B0600070205080204" pitchFamily="34" charset="-128"/>
                <a:cs typeface="+mn-cs"/>
                <a:sym typeface="Calibri" panose="020F0502020204030204" charset="0"/>
              </a:defRPr>
            </a:lvl8pPr>
            <a:lvl9pPr marL="3657600" algn="l" defTabSz="914400" rtl="0" eaLnBrk="1" latinLnBrk="0" hangingPunct="1">
              <a:defRPr kern="1200">
                <a:solidFill>
                  <a:srgbClr val="000000"/>
                </a:solidFill>
                <a:latin typeface="Calibri" panose="020F0502020204030204" charset="0"/>
                <a:ea typeface="MS PGothic" panose="020B0600070205080204" pitchFamily="34" charset="-128"/>
                <a:cs typeface="+mn-cs"/>
                <a:sym typeface="Calibri" panose="020F0502020204030204" charset="0"/>
              </a:defRPr>
            </a:lvl9pPr>
          </a:lstStyle>
          <a:p>
            <a:endParaRPr lang="en-US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24" name="深度视觉·原创设计 https://www.docer.com/works?userid=22383862"/>
          <p:cNvSpPr/>
          <p:nvPr/>
        </p:nvSpPr>
        <p:spPr bwMode="auto">
          <a:xfrm>
            <a:off x="2740026" y="1726406"/>
            <a:ext cx="594688" cy="598034"/>
          </a:xfrm>
          <a:custGeom>
            <a:avLst/>
            <a:gdLst>
              <a:gd name="T0" fmla="*/ 297100 w 19679"/>
              <a:gd name="T1" fmla="*/ 327989 h 19679"/>
              <a:gd name="T2" fmla="*/ 297100 w 19679"/>
              <a:gd name="T3" fmla="*/ 327989 h 19679"/>
              <a:gd name="T4" fmla="*/ 297100 w 19679"/>
              <a:gd name="T5" fmla="*/ 327989 h 19679"/>
              <a:gd name="T6" fmla="*/ 297100 w 19679"/>
              <a:gd name="T7" fmla="*/ 327989 h 19679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19679" h="19679">
                <a:moveTo>
                  <a:pt x="16796" y="2881"/>
                </a:moveTo>
                <a:cubicBezTo>
                  <a:pt x="20638" y="6724"/>
                  <a:pt x="20638" y="12953"/>
                  <a:pt x="16796" y="16796"/>
                </a:cubicBezTo>
                <a:cubicBezTo>
                  <a:pt x="12953" y="20639"/>
                  <a:pt x="6724" y="20639"/>
                  <a:pt x="2881" y="16796"/>
                </a:cubicBezTo>
                <a:cubicBezTo>
                  <a:pt x="-961" y="12953"/>
                  <a:pt x="-961" y="6724"/>
                  <a:pt x="2881" y="2881"/>
                </a:cubicBezTo>
                <a:cubicBezTo>
                  <a:pt x="6724" y="-961"/>
                  <a:pt x="12953" y="-961"/>
                  <a:pt x="16796" y="2881"/>
                </a:cubicBezTo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lIns="0" tIns="0" rIns="0" bIns="0" anchor="ctr"/>
          <a:lstStyle>
            <a:defPPr>
              <a:defRPr lang="es-ES"/>
            </a:defPPr>
            <a:lvl1pPr algn="l" rtl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rgbClr val="000000"/>
                </a:solidFill>
                <a:latin typeface="Calibri" panose="020F0502020204030204" charset="0"/>
                <a:ea typeface="MS PGothic" panose="020B0600070205080204" pitchFamily="34" charset="-128"/>
                <a:cs typeface="+mn-cs"/>
                <a:sym typeface="Calibri" panose="020F0502020204030204" charset="0"/>
              </a:defRPr>
            </a:lvl1pPr>
            <a:lvl2pPr marL="457200" algn="l" rtl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rgbClr val="000000"/>
                </a:solidFill>
                <a:latin typeface="Calibri" panose="020F0502020204030204" charset="0"/>
                <a:ea typeface="MS PGothic" panose="020B0600070205080204" pitchFamily="34" charset="-128"/>
                <a:cs typeface="+mn-cs"/>
                <a:sym typeface="Calibri" panose="020F0502020204030204" charset="0"/>
              </a:defRPr>
            </a:lvl2pPr>
            <a:lvl3pPr marL="914400" algn="l" rtl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rgbClr val="000000"/>
                </a:solidFill>
                <a:latin typeface="Calibri" panose="020F0502020204030204" charset="0"/>
                <a:ea typeface="MS PGothic" panose="020B0600070205080204" pitchFamily="34" charset="-128"/>
                <a:cs typeface="+mn-cs"/>
                <a:sym typeface="Calibri" panose="020F0502020204030204" charset="0"/>
              </a:defRPr>
            </a:lvl3pPr>
            <a:lvl4pPr marL="1371600" algn="l" rtl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rgbClr val="000000"/>
                </a:solidFill>
                <a:latin typeface="Calibri" panose="020F0502020204030204" charset="0"/>
                <a:ea typeface="MS PGothic" panose="020B0600070205080204" pitchFamily="34" charset="-128"/>
                <a:cs typeface="+mn-cs"/>
                <a:sym typeface="Calibri" panose="020F0502020204030204" charset="0"/>
              </a:defRPr>
            </a:lvl4pPr>
            <a:lvl5pPr marL="1828800" algn="l" rtl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rgbClr val="000000"/>
                </a:solidFill>
                <a:latin typeface="Calibri" panose="020F0502020204030204" charset="0"/>
                <a:ea typeface="MS PGothic" panose="020B0600070205080204" pitchFamily="34" charset="-128"/>
                <a:cs typeface="+mn-cs"/>
                <a:sym typeface="Calibri" panose="020F0502020204030204" charset="0"/>
              </a:defRPr>
            </a:lvl5pPr>
            <a:lvl6pPr marL="2286000" algn="l" defTabSz="914400" rtl="0" eaLnBrk="1" latinLnBrk="0" hangingPunct="1">
              <a:defRPr kern="1200">
                <a:solidFill>
                  <a:srgbClr val="000000"/>
                </a:solidFill>
                <a:latin typeface="Calibri" panose="020F0502020204030204" charset="0"/>
                <a:ea typeface="MS PGothic" panose="020B0600070205080204" pitchFamily="34" charset="-128"/>
                <a:cs typeface="+mn-cs"/>
                <a:sym typeface="Calibri" panose="020F0502020204030204" charset="0"/>
              </a:defRPr>
            </a:lvl6pPr>
            <a:lvl7pPr marL="2743200" algn="l" defTabSz="914400" rtl="0" eaLnBrk="1" latinLnBrk="0" hangingPunct="1">
              <a:defRPr kern="1200">
                <a:solidFill>
                  <a:srgbClr val="000000"/>
                </a:solidFill>
                <a:latin typeface="Calibri" panose="020F0502020204030204" charset="0"/>
                <a:ea typeface="MS PGothic" panose="020B0600070205080204" pitchFamily="34" charset="-128"/>
                <a:cs typeface="+mn-cs"/>
                <a:sym typeface="Calibri" panose="020F0502020204030204" charset="0"/>
              </a:defRPr>
            </a:lvl7pPr>
            <a:lvl8pPr marL="3200400" algn="l" defTabSz="914400" rtl="0" eaLnBrk="1" latinLnBrk="0" hangingPunct="1">
              <a:defRPr kern="1200">
                <a:solidFill>
                  <a:srgbClr val="000000"/>
                </a:solidFill>
                <a:latin typeface="Calibri" panose="020F0502020204030204" charset="0"/>
                <a:ea typeface="MS PGothic" panose="020B0600070205080204" pitchFamily="34" charset="-128"/>
                <a:cs typeface="+mn-cs"/>
                <a:sym typeface="Calibri" panose="020F0502020204030204" charset="0"/>
              </a:defRPr>
            </a:lvl8pPr>
            <a:lvl9pPr marL="3657600" algn="l" defTabSz="914400" rtl="0" eaLnBrk="1" latinLnBrk="0" hangingPunct="1">
              <a:defRPr kern="1200">
                <a:solidFill>
                  <a:srgbClr val="000000"/>
                </a:solidFill>
                <a:latin typeface="Calibri" panose="020F0502020204030204" charset="0"/>
                <a:ea typeface="MS PGothic" panose="020B0600070205080204" pitchFamily="34" charset="-128"/>
                <a:cs typeface="+mn-cs"/>
                <a:sym typeface="Calibri" panose="020F0502020204030204" charset="0"/>
              </a:defRPr>
            </a:lvl9pPr>
          </a:lstStyle>
          <a:p>
            <a:endParaRPr lang="en-US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grpSp>
        <p:nvGrpSpPr>
          <p:cNvPr id="25" name="深度视觉·原创设计 https://www.docer.com/works?userid=22383862"/>
          <p:cNvGrpSpPr/>
          <p:nvPr/>
        </p:nvGrpSpPr>
        <p:grpSpPr bwMode="auto">
          <a:xfrm>
            <a:off x="2892543" y="1866936"/>
            <a:ext cx="313360" cy="353403"/>
            <a:chOff x="-1" y="-1"/>
            <a:chExt cx="313119" cy="353170"/>
          </a:xfrm>
        </p:grpSpPr>
        <p:sp>
          <p:nvSpPr>
            <p:cNvPr id="26" name="深度视觉·原创设计 https://www.docer.com/works?userid=22383862"/>
            <p:cNvSpPr/>
            <p:nvPr/>
          </p:nvSpPr>
          <p:spPr bwMode="auto">
            <a:xfrm>
              <a:off x="-1" y="-1"/>
              <a:ext cx="313119" cy="63718"/>
            </a:xfrm>
            <a:custGeom>
              <a:avLst/>
              <a:gdLst>
                <a:gd name="T0" fmla="*/ 156560 w 21600"/>
                <a:gd name="T1" fmla="*/ 31859 h 21600"/>
                <a:gd name="T2" fmla="*/ 156560 w 21600"/>
                <a:gd name="T3" fmla="*/ 31859 h 21600"/>
                <a:gd name="T4" fmla="*/ 156560 w 21600"/>
                <a:gd name="T5" fmla="*/ 31859 h 21600"/>
                <a:gd name="T6" fmla="*/ 156560 w 21600"/>
                <a:gd name="T7" fmla="*/ 31859 h 2160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1600" h="21600">
                  <a:moveTo>
                    <a:pt x="11386" y="6646"/>
                  </a:moveTo>
                  <a:cubicBezTo>
                    <a:pt x="11386" y="3323"/>
                    <a:pt x="11386" y="3323"/>
                    <a:pt x="11386" y="3323"/>
                  </a:cubicBezTo>
                  <a:cubicBezTo>
                    <a:pt x="11386" y="1661"/>
                    <a:pt x="11051" y="0"/>
                    <a:pt x="10716" y="0"/>
                  </a:cubicBezTo>
                  <a:cubicBezTo>
                    <a:pt x="10548" y="0"/>
                    <a:pt x="10213" y="1661"/>
                    <a:pt x="10213" y="3323"/>
                  </a:cubicBezTo>
                  <a:cubicBezTo>
                    <a:pt x="10213" y="6646"/>
                    <a:pt x="10213" y="6646"/>
                    <a:pt x="10213" y="6646"/>
                  </a:cubicBezTo>
                  <a:cubicBezTo>
                    <a:pt x="0" y="6646"/>
                    <a:pt x="0" y="6646"/>
                    <a:pt x="0" y="6646"/>
                  </a:cubicBezTo>
                  <a:cubicBezTo>
                    <a:pt x="0" y="21599"/>
                    <a:pt x="0" y="21599"/>
                    <a:pt x="0" y="21599"/>
                  </a:cubicBezTo>
                  <a:cubicBezTo>
                    <a:pt x="21599" y="21599"/>
                    <a:pt x="21599" y="21599"/>
                    <a:pt x="21599" y="21599"/>
                  </a:cubicBezTo>
                  <a:cubicBezTo>
                    <a:pt x="21599" y="6646"/>
                    <a:pt x="21599" y="6646"/>
                    <a:pt x="21599" y="6646"/>
                  </a:cubicBezTo>
                  <a:lnTo>
                    <a:pt x="11386" y="664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miter lim="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7"/>
                      </a:srgbClr>
                    </a:outerShdw>
                  </a:effectLst>
                </a14:hiddenEffects>
              </a:ext>
            </a:extLst>
          </p:spPr>
          <p:txBody>
            <a:bodyPr lIns="0" tIns="0" rIns="0" bIns="0"/>
            <a:lstStyle>
              <a:defPPr>
                <a:defRPr lang="es-ES"/>
              </a:defPPr>
              <a:lvl1pPr algn="l" rtl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1pPr>
              <a:lvl2pPr marL="457200" algn="l" rtl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2pPr>
              <a:lvl3pPr marL="914400" algn="l" rtl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3pPr>
              <a:lvl4pPr marL="1371600" algn="l" rtl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4pPr>
              <a:lvl5pPr marL="1828800" algn="l" rtl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9pPr>
            </a:lstStyle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27" name="深度视觉·原创设计 https://www.docer.com/works?userid=22383862"/>
            <p:cNvSpPr/>
            <p:nvPr/>
          </p:nvSpPr>
          <p:spPr bwMode="auto">
            <a:xfrm>
              <a:off x="27306" y="78279"/>
              <a:ext cx="260326" cy="274890"/>
            </a:xfrm>
            <a:custGeom>
              <a:avLst/>
              <a:gdLst>
                <a:gd name="T0" fmla="*/ 130163 w 21600"/>
                <a:gd name="T1" fmla="*/ 137445 h 21600"/>
                <a:gd name="T2" fmla="*/ 130163 w 21600"/>
                <a:gd name="T3" fmla="*/ 137445 h 21600"/>
                <a:gd name="T4" fmla="*/ 130163 w 21600"/>
                <a:gd name="T5" fmla="*/ 137445 h 21600"/>
                <a:gd name="T6" fmla="*/ 130163 w 21600"/>
                <a:gd name="T7" fmla="*/ 137445 h 2160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1600" h="21600">
                  <a:moveTo>
                    <a:pt x="21600" y="13589"/>
                  </a:moveTo>
                  <a:lnTo>
                    <a:pt x="21600" y="0"/>
                  </a:lnTo>
                  <a:lnTo>
                    <a:pt x="0" y="0"/>
                  </a:lnTo>
                  <a:lnTo>
                    <a:pt x="0" y="13589"/>
                  </a:lnTo>
                  <a:lnTo>
                    <a:pt x="9516" y="13589"/>
                  </a:lnTo>
                  <a:lnTo>
                    <a:pt x="9516" y="17880"/>
                  </a:lnTo>
                  <a:lnTo>
                    <a:pt x="6797" y="17880"/>
                  </a:lnTo>
                  <a:lnTo>
                    <a:pt x="6797" y="17308"/>
                  </a:lnTo>
                  <a:lnTo>
                    <a:pt x="5588" y="17308"/>
                  </a:lnTo>
                  <a:lnTo>
                    <a:pt x="3776" y="21600"/>
                  </a:lnTo>
                  <a:lnTo>
                    <a:pt x="4984" y="21600"/>
                  </a:lnTo>
                  <a:lnTo>
                    <a:pt x="6041" y="19597"/>
                  </a:lnTo>
                  <a:lnTo>
                    <a:pt x="15709" y="19597"/>
                  </a:lnTo>
                  <a:lnTo>
                    <a:pt x="16464" y="21600"/>
                  </a:lnTo>
                  <a:lnTo>
                    <a:pt x="17974" y="21600"/>
                  </a:lnTo>
                  <a:lnTo>
                    <a:pt x="16162" y="17308"/>
                  </a:lnTo>
                  <a:lnTo>
                    <a:pt x="14651" y="17308"/>
                  </a:lnTo>
                  <a:lnTo>
                    <a:pt x="14651" y="17880"/>
                  </a:lnTo>
                  <a:lnTo>
                    <a:pt x="12083" y="17880"/>
                  </a:lnTo>
                  <a:lnTo>
                    <a:pt x="12083" y="13589"/>
                  </a:lnTo>
                  <a:lnTo>
                    <a:pt x="21600" y="13589"/>
                  </a:lnTo>
                  <a:close/>
                  <a:moveTo>
                    <a:pt x="13896" y="4005"/>
                  </a:moveTo>
                  <a:lnTo>
                    <a:pt x="20089" y="4005"/>
                  </a:lnTo>
                  <a:lnTo>
                    <a:pt x="20089" y="5292"/>
                  </a:lnTo>
                  <a:lnTo>
                    <a:pt x="13896" y="5292"/>
                  </a:lnTo>
                  <a:lnTo>
                    <a:pt x="13896" y="4005"/>
                  </a:lnTo>
                  <a:close/>
                  <a:moveTo>
                    <a:pt x="13896" y="6580"/>
                  </a:moveTo>
                  <a:lnTo>
                    <a:pt x="20089" y="6580"/>
                  </a:lnTo>
                  <a:lnTo>
                    <a:pt x="20089" y="8010"/>
                  </a:lnTo>
                  <a:lnTo>
                    <a:pt x="13896" y="8010"/>
                  </a:lnTo>
                  <a:lnTo>
                    <a:pt x="13896" y="6580"/>
                  </a:lnTo>
                  <a:close/>
                  <a:moveTo>
                    <a:pt x="13896" y="9011"/>
                  </a:moveTo>
                  <a:lnTo>
                    <a:pt x="20089" y="9011"/>
                  </a:lnTo>
                  <a:lnTo>
                    <a:pt x="20089" y="10585"/>
                  </a:lnTo>
                  <a:lnTo>
                    <a:pt x="13896" y="10585"/>
                  </a:lnTo>
                  <a:lnTo>
                    <a:pt x="13896" y="9011"/>
                  </a:lnTo>
                  <a:close/>
                  <a:moveTo>
                    <a:pt x="1208" y="10728"/>
                  </a:moveTo>
                  <a:lnTo>
                    <a:pt x="1208" y="3433"/>
                  </a:lnTo>
                  <a:lnTo>
                    <a:pt x="12537" y="3433"/>
                  </a:lnTo>
                  <a:lnTo>
                    <a:pt x="12537" y="10728"/>
                  </a:lnTo>
                  <a:lnTo>
                    <a:pt x="1208" y="1072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miter lim="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7"/>
                      </a:srgbClr>
                    </a:outerShdw>
                  </a:effectLst>
                </a14:hiddenEffects>
              </a:ext>
            </a:extLst>
          </p:spPr>
          <p:txBody>
            <a:bodyPr lIns="0" tIns="0" rIns="0" bIns="0"/>
            <a:lstStyle>
              <a:defPPr>
                <a:defRPr lang="es-ES"/>
              </a:defPPr>
              <a:lvl1pPr algn="l" rtl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1pPr>
              <a:lvl2pPr marL="457200" algn="l" rtl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2pPr>
              <a:lvl3pPr marL="914400" algn="l" rtl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3pPr>
              <a:lvl4pPr marL="1371600" algn="l" rtl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4pPr>
              <a:lvl5pPr marL="1828800" algn="l" rtl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9pPr>
            </a:lstStyle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28" name="深度视觉·原创设计 https://www.docer.com/works?userid=22383862"/>
            <p:cNvSpPr/>
            <p:nvPr/>
          </p:nvSpPr>
          <p:spPr bwMode="auto">
            <a:xfrm>
              <a:off x="47331" y="131072"/>
              <a:ext cx="127433" cy="74640"/>
            </a:xfrm>
            <a:custGeom>
              <a:avLst/>
              <a:gdLst>
                <a:gd name="T0" fmla="*/ 63716 w 21600"/>
                <a:gd name="T1" fmla="*/ 37320 h 21600"/>
                <a:gd name="T2" fmla="*/ 63716 w 21600"/>
                <a:gd name="T3" fmla="*/ 37320 h 21600"/>
                <a:gd name="T4" fmla="*/ 63716 w 21600"/>
                <a:gd name="T5" fmla="*/ 37320 h 21600"/>
                <a:gd name="T6" fmla="*/ 63716 w 21600"/>
                <a:gd name="T7" fmla="*/ 37320 h 2160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1600" h="21600">
                  <a:moveTo>
                    <a:pt x="17897" y="6321"/>
                  </a:moveTo>
                  <a:lnTo>
                    <a:pt x="16662" y="10536"/>
                  </a:lnTo>
                  <a:lnTo>
                    <a:pt x="14811" y="8429"/>
                  </a:lnTo>
                  <a:lnTo>
                    <a:pt x="10491" y="4214"/>
                  </a:lnTo>
                  <a:lnTo>
                    <a:pt x="8640" y="10536"/>
                  </a:lnTo>
                  <a:lnTo>
                    <a:pt x="4937" y="6321"/>
                  </a:lnTo>
                  <a:lnTo>
                    <a:pt x="3702" y="8956"/>
                  </a:lnTo>
                  <a:lnTo>
                    <a:pt x="0" y="19492"/>
                  </a:lnTo>
                  <a:lnTo>
                    <a:pt x="1542" y="21600"/>
                  </a:lnTo>
                  <a:lnTo>
                    <a:pt x="5245" y="11063"/>
                  </a:lnTo>
                  <a:lnTo>
                    <a:pt x="7405" y="13170"/>
                  </a:lnTo>
                  <a:lnTo>
                    <a:pt x="9257" y="15278"/>
                  </a:lnTo>
                  <a:lnTo>
                    <a:pt x="11417" y="8956"/>
                  </a:lnTo>
                  <a:lnTo>
                    <a:pt x="12959" y="11063"/>
                  </a:lnTo>
                  <a:lnTo>
                    <a:pt x="17279" y="14751"/>
                  </a:lnTo>
                  <a:lnTo>
                    <a:pt x="17588" y="14751"/>
                  </a:lnTo>
                  <a:lnTo>
                    <a:pt x="19748" y="8956"/>
                  </a:lnTo>
                  <a:lnTo>
                    <a:pt x="21599" y="2107"/>
                  </a:lnTo>
                  <a:lnTo>
                    <a:pt x="20057" y="0"/>
                  </a:lnTo>
                  <a:lnTo>
                    <a:pt x="17897" y="63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miter lim="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7"/>
                      </a:srgbClr>
                    </a:outerShdw>
                  </a:effectLst>
                </a14:hiddenEffects>
              </a:ext>
            </a:extLst>
          </p:spPr>
          <p:txBody>
            <a:bodyPr lIns="0" tIns="0" rIns="0" bIns="0"/>
            <a:lstStyle>
              <a:defPPr>
                <a:defRPr lang="es-ES"/>
              </a:defPPr>
              <a:lvl1pPr algn="l" rtl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1pPr>
              <a:lvl2pPr marL="457200" algn="l" rtl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2pPr>
              <a:lvl3pPr marL="914400" algn="l" rtl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3pPr>
              <a:lvl4pPr marL="1371600" algn="l" rtl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4pPr>
              <a:lvl5pPr marL="1828800" algn="l" rtl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9pPr>
            </a:lstStyle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</p:grpSp>
      <p:sp>
        <p:nvSpPr>
          <p:cNvPr id="29" name="深度视觉·原创设计 https://www.docer.com/works?userid=22383862"/>
          <p:cNvSpPr/>
          <p:nvPr/>
        </p:nvSpPr>
        <p:spPr bwMode="auto">
          <a:xfrm>
            <a:off x="6852443" y="4458493"/>
            <a:ext cx="1218848" cy="380583"/>
          </a:xfrm>
          <a:custGeom>
            <a:avLst/>
            <a:gdLst>
              <a:gd name="T0" fmla="*/ 609600 w 21600"/>
              <a:gd name="T1" fmla="*/ 190501 h 21600"/>
              <a:gd name="T2" fmla="*/ 609600 w 21600"/>
              <a:gd name="T3" fmla="*/ 190501 h 21600"/>
              <a:gd name="T4" fmla="*/ 609600 w 21600"/>
              <a:gd name="T5" fmla="*/ 190501 h 21600"/>
              <a:gd name="T6" fmla="*/ 609600 w 21600"/>
              <a:gd name="T7" fmla="*/ 190501 h 21600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1600" h="21600">
                <a:moveTo>
                  <a:pt x="0" y="0"/>
                </a:moveTo>
                <a:lnTo>
                  <a:pt x="10800" y="0"/>
                </a:lnTo>
                <a:lnTo>
                  <a:pt x="10800" y="21600"/>
                </a:lnTo>
                <a:lnTo>
                  <a:pt x="21600" y="21600"/>
                </a:lnTo>
              </a:path>
            </a:pathLst>
          </a:custGeom>
          <a:noFill/>
          <a:ln w="9525" cap="flat" cmpd="sng">
            <a:solidFill>
              <a:srgbClr val="BFBFBF"/>
            </a:solidFill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7"/>
                    </a:srgbClr>
                  </a:outerShdw>
                </a:effectLst>
              </a14:hiddenEffects>
            </a:ext>
          </a:extLst>
        </p:spPr>
        <p:txBody>
          <a:bodyPr lIns="0" tIns="0" rIns="0" bIns="0" anchor="ctr"/>
          <a:lstStyle>
            <a:defPPr>
              <a:defRPr lang="es-ES"/>
            </a:defPPr>
            <a:lvl1pPr algn="l" rtl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rgbClr val="000000"/>
                </a:solidFill>
                <a:latin typeface="Calibri" panose="020F0502020204030204" charset="0"/>
                <a:ea typeface="MS PGothic" panose="020B0600070205080204" pitchFamily="34" charset="-128"/>
                <a:cs typeface="+mn-cs"/>
                <a:sym typeface="Calibri" panose="020F0502020204030204" charset="0"/>
              </a:defRPr>
            </a:lvl1pPr>
            <a:lvl2pPr marL="457200" algn="l" rtl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rgbClr val="000000"/>
                </a:solidFill>
                <a:latin typeface="Calibri" panose="020F0502020204030204" charset="0"/>
                <a:ea typeface="MS PGothic" panose="020B0600070205080204" pitchFamily="34" charset="-128"/>
                <a:cs typeface="+mn-cs"/>
                <a:sym typeface="Calibri" panose="020F0502020204030204" charset="0"/>
              </a:defRPr>
            </a:lvl2pPr>
            <a:lvl3pPr marL="914400" algn="l" rtl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rgbClr val="000000"/>
                </a:solidFill>
                <a:latin typeface="Calibri" panose="020F0502020204030204" charset="0"/>
                <a:ea typeface="MS PGothic" panose="020B0600070205080204" pitchFamily="34" charset="-128"/>
                <a:cs typeface="+mn-cs"/>
                <a:sym typeface="Calibri" panose="020F0502020204030204" charset="0"/>
              </a:defRPr>
            </a:lvl3pPr>
            <a:lvl4pPr marL="1371600" algn="l" rtl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rgbClr val="000000"/>
                </a:solidFill>
                <a:latin typeface="Calibri" panose="020F0502020204030204" charset="0"/>
                <a:ea typeface="MS PGothic" panose="020B0600070205080204" pitchFamily="34" charset="-128"/>
                <a:cs typeface="+mn-cs"/>
                <a:sym typeface="Calibri" panose="020F0502020204030204" charset="0"/>
              </a:defRPr>
            </a:lvl4pPr>
            <a:lvl5pPr marL="1828800" algn="l" rtl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rgbClr val="000000"/>
                </a:solidFill>
                <a:latin typeface="Calibri" panose="020F0502020204030204" charset="0"/>
                <a:ea typeface="MS PGothic" panose="020B0600070205080204" pitchFamily="34" charset="-128"/>
                <a:cs typeface="+mn-cs"/>
                <a:sym typeface="Calibri" panose="020F0502020204030204" charset="0"/>
              </a:defRPr>
            </a:lvl5pPr>
            <a:lvl6pPr marL="2286000" algn="l" defTabSz="914400" rtl="0" eaLnBrk="1" latinLnBrk="0" hangingPunct="1">
              <a:defRPr kern="1200">
                <a:solidFill>
                  <a:srgbClr val="000000"/>
                </a:solidFill>
                <a:latin typeface="Calibri" panose="020F0502020204030204" charset="0"/>
                <a:ea typeface="MS PGothic" panose="020B0600070205080204" pitchFamily="34" charset="-128"/>
                <a:cs typeface="+mn-cs"/>
                <a:sym typeface="Calibri" panose="020F0502020204030204" charset="0"/>
              </a:defRPr>
            </a:lvl6pPr>
            <a:lvl7pPr marL="2743200" algn="l" defTabSz="914400" rtl="0" eaLnBrk="1" latinLnBrk="0" hangingPunct="1">
              <a:defRPr kern="1200">
                <a:solidFill>
                  <a:srgbClr val="000000"/>
                </a:solidFill>
                <a:latin typeface="Calibri" panose="020F0502020204030204" charset="0"/>
                <a:ea typeface="MS PGothic" panose="020B0600070205080204" pitchFamily="34" charset="-128"/>
                <a:cs typeface="+mn-cs"/>
                <a:sym typeface="Calibri" panose="020F0502020204030204" charset="0"/>
              </a:defRPr>
            </a:lvl7pPr>
            <a:lvl8pPr marL="3200400" algn="l" defTabSz="914400" rtl="0" eaLnBrk="1" latinLnBrk="0" hangingPunct="1">
              <a:defRPr kern="1200">
                <a:solidFill>
                  <a:srgbClr val="000000"/>
                </a:solidFill>
                <a:latin typeface="Calibri" panose="020F0502020204030204" charset="0"/>
                <a:ea typeface="MS PGothic" panose="020B0600070205080204" pitchFamily="34" charset="-128"/>
                <a:cs typeface="+mn-cs"/>
                <a:sym typeface="Calibri" panose="020F0502020204030204" charset="0"/>
              </a:defRPr>
            </a:lvl8pPr>
            <a:lvl9pPr marL="3657600" algn="l" defTabSz="914400" rtl="0" eaLnBrk="1" latinLnBrk="0" hangingPunct="1">
              <a:defRPr kern="1200">
                <a:solidFill>
                  <a:srgbClr val="000000"/>
                </a:solidFill>
                <a:latin typeface="Calibri" panose="020F0502020204030204" charset="0"/>
                <a:ea typeface="MS PGothic" panose="020B0600070205080204" pitchFamily="34" charset="-128"/>
                <a:cs typeface="+mn-cs"/>
                <a:sym typeface="Calibri" panose="020F0502020204030204" charset="0"/>
              </a:defRPr>
            </a:lvl9pPr>
          </a:lstStyle>
          <a:p>
            <a:endParaRPr lang="en-US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30" name="深度视觉·原创设计 https://www.docer.com/works?userid=22383862"/>
          <p:cNvSpPr/>
          <p:nvPr/>
        </p:nvSpPr>
        <p:spPr bwMode="auto">
          <a:xfrm>
            <a:off x="7995112" y="4534609"/>
            <a:ext cx="594055" cy="596984"/>
          </a:xfrm>
          <a:custGeom>
            <a:avLst/>
            <a:gdLst>
              <a:gd name="T0" fmla="*/ 297098 w 19679"/>
              <a:gd name="T1" fmla="*/ 327989 h 19679"/>
              <a:gd name="T2" fmla="*/ 297098 w 19679"/>
              <a:gd name="T3" fmla="*/ 327989 h 19679"/>
              <a:gd name="T4" fmla="*/ 297098 w 19679"/>
              <a:gd name="T5" fmla="*/ 327989 h 19679"/>
              <a:gd name="T6" fmla="*/ 297098 w 19679"/>
              <a:gd name="T7" fmla="*/ 327989 h 19679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19679" h="19679">
                <a:moveTo>
                  <a:pt x="16796" y="2881"/>
                </a:moveTo>
                <a:cubicBezTo>
                  <a:pt x="20639" y="6724"/>
                  <a:pt x="20639" y="12953"/>
                  <a:pt x="16796" y="16796"/>
                </a:cubicBezTo>
                <a:cubicBezTo>
                  <a:pt x="12953" y="20639"/>
                  <a:pt x="6724" y="20639"/>
                  <a:pt x="2881" y="16796"/>
                </a:cubicBezTo>
                <a:cubicBezTo>
                  <a:pt x="-961" y="12953"/>
                  <a:pt x="-961" y="6724"/>
                  <a:pt x="2881" y="2881"/>
                </a:cubicBezTo>
                <a:cubicBezTo>
                  <a:pt x="6724" y="-961"/>
                  <a:pt x="12953" y="-961"/>
                  <a:pt x="16796" y="2881"/>
                </a:cubicBezTo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lIns="0" tIns="0" rIns="0" bIns="0" anchor="ctr"/>
          <a:lstStyle>
            <a:defPPr>
              <a:defRPr lang="es-ES"/>
            </a:defPPr>
            <a:lvl1pPr algn="l" rtl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rgbClr val="000000"/>
                </a:solidFill>
                <a:latin typeface="Calibri" panose="020F0502020204030204" charset="0"/>
                <a:ea typeface="MS PGothic" panose="020B0600070205080204" pitchFamily="34" charset="-128"/>
                <a:cs typeface="+mn-cs"/>
                <a:sym typeface="Calibri" panose="020F0502020204030204" charset="0"/>
              </a:defRPr>
            </a:lvl1pPr>
            <a:lvl2pPr marL="457200" algn="l" rtl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rgbClr val="000000"/>
                </a:solidFill>
                <a:latin typeface="Calibri" panose="020F0502020204030204" charset="0"/>
                <a:ea typeface="MS PGothic" panose="020B0600070205080204" pitchFamily="34" charset="-128"/>
                <a:cs typeface="+mn-cs"/>
                <a:sym typeface="Calibri" panose="020F0502020204030204" charset="0"/>
              </a:defRPr>
            </a:lvl2pPr>
            <a:lvl3pPr marL="914400" algn="l" rtl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rgbClr val="000000"/>
                </a:solidFill>
                <a:latin typeface="Calibri" panose="020F0502020204030204" charset="0"/>
                <a:ea typeface="MS PGothic" panose="020B0600070205080204" pitchFamily="34" charset="-128"/>
                <a:cs typeface="+mn-cs"/>
                <a:sym typeface="Calibri" panose="020F0502020204030204" charset="0"/>
              </a:defRPr>
            </a:lvl3pPr>
            <a:lvl4pPr marL="1371600" algn="l" rtl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rgbClr val="000000"/>
                </a:solidFill>
                <a:latin typeface="Calibri" panose="020F0502020204030204" charset="0"/>
                <a:ea typeface="MS PGothic" panose="020B0600070205080204" pitchFamily="34" charset="-128"/>
                <a:cs typeface="+mn-cs"/>
                <a:sym typeface="Calibri" panose="020F0502020204030204" charset="0"/>
              </a:defRPr>
            </a:lvl4pPr>
            <a:lvl5pPr marL="1828800" algn="l" rtl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rgbClr val="000000"/>
                </a:solidFill>
                <a:latin typeface="Calibri" panose="020F0502020204030204" charset="0"/>
                <a:ea typeface="MS PGothic" panose="020B0600070205080204" pitchFamily="34" charset="-128"/>
                <a:cs typeface="+mn-cs"/>
                <a:sym typeface="Calibri" panose="020F0502020204030204" charset="0"/>
              </a:defRPr>
            </a:lvl5pPr>
            <a:lvl6pPr marL="2286000" algn="l" defTabSz="914400" rtl="0" eaLnBrk="1" latinLnBrk="0" hangingPunct="1">
              <a:defRPr kern="1200">
                <a:solidFill>
                  <a:srgbClr val="000000"/>
                </a:solidFill>
                <a:latin typeface="Calibri" panose="020F0502020204030204" charset="0"/>
                <a:ea typeface="MS PGothic" panose="020B0600070205080204" pitchFamily="34" charset="-128"/>
                <a:cs typeface="+mn-cs"/>
                <a:sym typeface="Calibri" panose="020F0502020204030204" charset="0"/>
              </a:defRPr>
            </a:lvl6pPr>
            <a:lvl7pPr marL="2743200" algn="l" defTabSz="914400" rtl="0" eaLnBrk="1" latinLnBrk="0" hangingPunct="1">
              <a:defRPr kern="1200">
                <a:solidFill>
                  <a:srgbClr val="000000"/>
                </a:solidFill>
                <a:latin typeface="Calibri" panose="020F0502020204030204" charset="0"/>
                <a:ea typeface="MS PGothic" panose="020B0600070205080204" pitchFamily="34" charset="-128"/>
                <a:cs typeface="+mn-cs"/>
                <a:sym typeface="Calibri" panose="020F0502020204030204" charset="0"/>
              </a:defRPr>
            </a:lvl7pPr>
            <a:lvl8pPr marL="3200400" algn="l" defTabSz="914400" rtl="0" eaLnBrk="1" latinLnBrk="0" hangingPunct="1">
              <a:defRPr kern="1200">
                <a:solidFill>
                  <a:srgbClr val="000000"/>
                </a:solidFill>
                <a:latin typeface="Calibri" panose="020F0502020204030204" charset="0"/>
                <a:ea typeface="MS PGothic" panose="020B0600070205080204" pitchFamily="34" charset="-128"/>
                <a:cs typeface="+mn-cs"/>
                <a:sym typeface="Calibri" panose="020F0502020204030204" charset="0"/>
              </a:defRPr>
            </a:lvl8pPr>
            <a:lvl9pPr marL="3657600" algn="l" defTabSz="914400" rtl="0" eaLnBrk="1" latinLnBrk="0" hangingPunct="1">
              <a:defRPr kern="1200">
                <a:solidFill>
                  <a:srgbClr val="000000"/>
                </a:solidFill>
                <a:latin typeface="Calibri" panose="020F0502020204030204" charset="0"/>
                <a:ea typeface="MS PGothic" panose="020B0600070205080204" pitchFamily="34" charset="-128"/>
                <a:cs typeface="+mn-cs"/>
                <a:sym typeface="Calibri" panose="020F0502020204030204" charset="0"/>
              </a:defRPr>
            </a:lvl9pPr>
          </a:lstStyle>
          <a:p>
            <a:endParaRPr lang="en-US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grpSp>
        <p:nvGrpSpPr>
          <p:cNvPr id="31" name="深度视觉·原创设计 https://www.docer.com/works?userid=22383862"/>
          <p:cNvGrpSpPr/>
          <p:nvPr/>
        </p:nvGrpSpPr>
        <p:grpSpPr bwMode="auto">
          <a:xfrm>
            <a:off x="8152384" y="4692415"/>
            <a:ext cx="280569" cy="280569"/>
            <a:chOff x="-1" y="-1"/>
            <a:chExt cx="411482" cy="411482"/>
          </a:xfrm>
        </p:grpSpPr>
        <p:sp>
          <p:nvSpPr>
            <p:cNvPr id="32" name="深度视觉·原创设计 https://www.docer.com/works?userid=22383862"/>
            <p:cNvSpPr/>
            <p:nvPr/>
          </p:nvSpPr>
          <p:spPr bwMode="auto">
            <a:xfrm>
              <a:off x="213826" y="211299"/>
              <a:ext cx="93437" cy="200180"/>
            </a:xfrm>
            <a:custGeom>
              <a:avLst/>
              <a:gdLst>
                <a:gd name="T0" fmla="*/ 46718 w 21600"/>
                <a:gd name="T1" fmla="*/ 100090 h 21600"/>
                <a:gd name="T2" fmla="*/ 46718 w 21600"/>
                <a:gd name="T3" fmla="*/ 100090 h 21600"/>
                <a:gd name="T4" fmla="*/ 46718 w 21600"/>
                <a:gd name="T5" fmla="*/ 100090 h 21600"/>
                <a:gd name="T6" fmla="*/ 46718 w 21600"/>
                <a:gd name="T7" fmla="*/ 100090 h 2160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1600" h="21600">
                  <a:moveTo>
                    <a:pt x="16904" y="0"/>
                  </a:moveTo>
                  <a:cubicBezTo>
                    <a:pt x="4695" y="0"/>
                    <a:pt x="4695" y="0"/>
                    <a:pt x="4695" y="0"/>
                  </a:cubicBezTo>
                  <a:cubicBezTo>
                    <a:pt x="1878" y="0"/>
                    <a:pt x="0" y="1080"/>
                    <a:pt x="0" y="2160"/>
                  </a:cubicBezTo>
                  <a:cubicBezTo>
                    <a:pt x="0" y="19440"/>
                    <a:pt x="0" y="19440"/>
                    <a:pt x="0" y="19440"/>
                  </a:cubicBezTo>
                  <a:cubicBezTo>
                    <a:pt x="0" y="20519"/>
                    <a:pt x="1878" y="21599"/>
                    <a:pt x="4695" y="21599"/>
                  </a:cubicBezTo>
                  <a:cubicBezTo>
                    <a:pt x="16904" y="21599"/>
                    <a:pt x="16904" y="21599"/>
                    <a:pt x="16904" y="21599"/>
                  </a:cubicBezTo>
                  <a:cubicBezTo>
                    <a:pt x="19721" y="21599"/>
                    <a:pt x="21599" y="20519"/>
                    <a:pt x="21599" y="19440"/>
                  </a:cubicBezTo>
                  <a:cubicBezTo>
                    <a:pt x="21599" y="2160"/>
                    <a:pt x="21599" y="2160"/>
                    <a:pt x="21599" y="2160"/>
                  </a:cubicBezTo>
                  <a:cubicBezTo>
                    <a:pt x="21599" y="1080"/>
                    <a:pt x="19721" y="0"/>
                    <a:pt x="16904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miter lim="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7"/>
                      </a:srgbClr>
                    </a:outerShdw>
                  </a:effectLst>
                </a14:hiddenEffects>
              </a:ext>
            </a:extLst>
          </p:spPr>
          <p:txBody>
            <a:bodyPr lIns="0" tIns="0" rIns="0" bIns="0"/>
            <a:lstStyle>
              <a:defPPr>
                <a:defRPr lang="es-ES"/>
              </a:defPPr>
              <a:lvl1pPr algn="l" rtl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1pPr>
              <a:lvl2pPr marL="457200" algn="l" rtl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2pPr>
              <a:lvl3pPr marL="914400" algn="l" rtl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3pPr>
              <a:lvl4pPr marL="1371600" algn="l" rtl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4pPr>
              <a:lvl5pPr marL="1828800" algn="l" rtl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9pPr>
            </a:lstStyle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33" name="深度视觉·原创设计 https://www.docer.com/works?userid=22383862"/>
            <p:cNvSpPr/>
            <p:nvPr/>
          </p:nvSpPr>
          <p:spPr bwMode="auto">
            <a:xfrm>
              <a:off x="323433" y="-1"/>
              <a:ext cx="88048" cy="411482"/>
            </a:xfrm>
            <a:custGeom>
              <a:avLst/>
              <a:gdLst>
                <a:gd name="T0" fmla="*/ 44024 w 21600"/>
                <a:gd name="T1" fmla="*/ 205741 h 21600"/>
                <a:gd name="T2" fmla="*/ 44024 w 21600"/>
                <a:gd name="T3" fmla="*/ 205741 h 21600"/>
                <a:gd name="T4" fmla="*/ 44024 w 21600"/>
                <a:gd name="T5" fmla="*/ 205741 h 21600"/>
                <a:gd name="T6" fmla="*/ 44024 w 21600"/>
                <a:gd name="T7" fmla="*/ 205741 h 2160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1600" h="21600">
                  <a:moveTo>
                    <a:pt x="4909" y="21599"/>
                  </a:moveTo>
                  <a:cubicBezTo>
                    <a:pt x="17672" y="21599"/>
                    <a:pt x="17672" y="21599"/>
                    <a:pt x="17672" y="21599"/>
                  </a:cubicBezTo>
                  <a:cubicBezTo>
                    <a:pt x="19636" y="21599"/>
                    <a:pt x="21599" y="21073"/>
                    <a:pt x="21599" y="20546"/>
                  </a:cubicBezTo>
                  <a:cubicBezTo>
                    <a:pt x="21599" y="1053"/>
                    <a:pt x="21599" y="1053"/>
                    <a:pt x="21599" y="1053"/>
                  </a:cubicBezTo>
                  <a:cubicBezTo>
                    <a:pt x="21599" y="526"/>
                    <a:pt x="19636" y="0"/>
                    <a:pt x="17672" y="0"/>
                  </a:cubicBezTo>
                  <a:cubicBezTo>
                    <a:pt x="4909" y="0"/>
                    <a:pt x="4909" y="0"/>
                    <a:pt x="4909" y="0"/>
                  </a:cubicBezTo>
                  <a:cubicBezTo>
                    <a:pt x="1963" y="0"/>
                    <a:pt x="0" y="526"/>
                    <a:pt x="0" y="1053"/>
                  </a:cubicBezTo>
                  <a:cubicBezTo>
                    <a:pt x="0" y="12117"/>
                    <a:pt x="0" y="12117"/>
                    <a:pt x="0" y="12117"/>
                  </a:cubicBezTo>
                  <a:cubicBezTo>
                    <a:pt x="0" y="20546"/>
                    <a:pt x="0" y="20546"/>
                    <a:pt x="0" y="20546"/>
                  </a:cubicBezTo>
                  <a:cubicBezTo>
                    <a:pt x="0" y="21073"/>
                    <a:pt x="1963" y="21599"/>
                    <a:pt x="4909" y="2159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miter lim="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7"/>
                      </a:srgbClr>
                    </a:outerShdw>
                  </a:effectLst>
                </a14:hiddenEffects>
              </a:ext>
            </a:extLst>
          </p:spPr>
          <p:txBody>
            <a:bodyPr lIns="0" tIns="0" rIns="0" bIns="0"/>
            <a:lstStyle>
              <a:defPPr>
                <a:defRPr lang="es-ES"/>
              </a:defPPr>
              <a:lvl1pPr algn="l" rtl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1pPr>
              <a:lvl2pPr marL="457200" algn="l" rtl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2pPr>
              <a:lvl3pPr marL="914400" algn="l" rtl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3pPr>
              <a:lvl4pPr marL="1371600" algn="l" rtl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4pPr>
              <a:lvl5pPr marL="1828800" algn="l" rtl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9pPr>
            </a:lstStyle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34" name="深度视觉·原创设计 https://www.docer.com/works?userid=22383862"/>
            <p:cNvSpPr/>
            <p:nvPr/>
          </p:nvSpPr>
          <p:spPr bwMode="auto">
            <a:xfrm>
              <a:off x="109608" y="115659"/>
              <a:ext cx="88048" cy="295822"/>
            </a:xfrm>
            <a:custGeom>
              <a:avLst/>
              <a:gdLst>
                <a:gd name="T0" fmla="*/ 44024 w 21600"/>
                <a:gd name="T1" fmla="*/ 147911 h 21600"/>
                <a:gd name="T2" fmla="*/ 44024 w 21600"/>
                <a:gd name="T3" fmla="*/ 147911 h 21600"/>
                <a:gd name="T4" fmla="*/ 44024 w 21600"/>
                <a:gd name="T5" fmla="*/ 147911 h 21600"/>
                <a:gd name="T6" fmla="*/ 44024 w 21600"/>
                <a:gd name="T7" fmla="*/ 147911 h 2160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1600" h="21600">
                  <a:moveTo>
                    <a:pt x="17672" y="0"/>
                  </a:moveTo>
                  <a:cubicBezTo>
                    <a:pt x="3927" y="0"/>
                    <a:pt x="3927" y="0"/>
                    <a:pt x="3927" y="0"/>
                  </a:cubicBezTo>
                  <a:cubicBezTo>
                    <a:pt x="1963" y="0"/>
                    <a:pt x="0" y="732"/>
                    <a:pt x="0" y="1830"/>
                  </a:cubicBezTo>
                  <a:cubicBezTo>
                    <a:pt x="0" y="15376"/>
                    <a:pt x="0" y="15376"/>
                    <a:pt x="0" y="15376"/>
                  </a:cubicBezTo>
                  <a:cubicBezTo>
                    <a:pt x="0" y="20135"/>
                    <a:pt x="0" y="20135"/>
                    <a:pt x="0" y="20135"/>
                  </a:cubicBezTo>
                  <a:cubicBezTo>
                    <a:pt x="0" y="20867"/>
                    <a:pt x="1963" y="21599"/>
                    <a:pt x="3927" y="21599"/>
                  </a:cubicBezTo>
                  <a:cubicBezTo>
                    <a:pt x="17672" y="21599"/>
                    <a:pt x="17672" y="21599"/>
                    <a:pt x="17672" y="21599"/>
                  </a:cubicBezTo>
                  <a:cubicBezTo>
                    <a:pt x="19636" y="21599"/>
                    <a:pt x="21599" y="20867"/>
                    <a:pt x="21599" y="20135"/>
                  </a:cubicBezTo>
                  <a:cubicBezTo>
                    <a:pt x="21599" y="8420"/>
                    <a:pt x="21599" y="8420"/>
                    <a:pt x="21599" y="8420"/>
                  </a:cubicBezTo>
                  <a:cubicBezTo>
                    <a:pt x="21599" y="1830"/>
                    <a:pt x="21599" y="1830"/>
                    <a:pt x="21599" y="1830"/>
                  </a:cubicBezTo>
                  <a:cubicBezTo>
                    <a:pt x="21599" y="732"/>
                    <a:pt x="19636" y="0"/>
                    <a:pt x="1767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miter lim="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7"/>
                      </a:srgbClr>
                    </a:outerShdw>
                  </a:effectLst>
                </a14:hiddenEffects>
              </a:ext>
            </a:extLst>
          </p:spPr>
          <p:txBody>
            <a:bodyPr lIns="0" tIns="0" rIns="0" bIns="0"/>
            <a:lstStyle>
              <a:defPPr>
                <a:defRPr lang="es-ES"/>
              </a:defPPr>
              <a:lvl1pPr algn="l" rtl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1pPr>
              <a:lvl2pPr marL="457200" algn="l" rtl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2pPr>
              <a:lvl3pPr marL="914400" algn="l" rtl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3pPr>
              <a:lvl4pPr marL="1371600" algn="l" rtl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4pPr>
              <a:lvl5pPr marL="1828800" algn="l" rtl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9pPr>
            </a:lstStyle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35" name="深度视觉·原创设计 https://www.docer.com/works?userid=22383862"/>
            <p:cNvSpPr/>
            <p:nvPr/>
          </p:nvSpPr>
          <p:spPr bwMode="auto">
            <a:xfrm>
              <a:off x="-1" y="306941"/>
              <a:ext cx="93438" cy="104540"/>
            </a:xfrm>
            <a:custGeom>
              <a:avLst/>
              <a:gdLst>
                <a:gd name="T0" fmla="*/ 46719 w 21600"/>
                <a:gd name="T1" fmla="*/ 52270 h 21600"/>
                <a:gd name="T2" fmla="*/ 46719 w 21600"/>
                <a:gd name="T3" fmla="*/ 52270 h 21600"/>
                <a:gd name="T4" fmla="*/ 46719 w 21600"/>
                <a:gd name="T5" fmla="*/ 52270 h 21600"/>
                <a:gd name="T6" fmla="*/ 46719 w 21600"/>
                <a:gd name="T7" fmla="*/ 52270 h 2160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1600" h="21600">
                  <a:moveTo>
                    <a:pt x="16904" y="0"/>
                  </a:moveTo>
                  <a:cubicBezTo>
                    <a:pt x="4695" y="0"/>
                    <a:pt x="4695" y="0"/>
                    <a:pt x="4695" y="0"/>
                  </a:cubicBezTo>
                  <a:cubicBezTo>
                    <a:pt x="1878" y="0"/>
                    <a:pt x="0" y="2057"/>
                    <a:pt x="0" y="4114"/>
                  </a:cubicBezTo>
                  <a:cubicBezTo>
                    <a:pt x="0" y="17485"/>
                    <a:pt x="0" y="17485"/>
                    <a:pt x="0" y="17485"/>
                  </a:cubicBezTo>
                  <a:cubicBezTo>
                    <a:pt x="0" y="19542"/>
                    <a:pt x="1878" y="21600"/>
                    <a:pt x="4695" y="21600"/>
                  </a:cubicBezTo>
                  <a:cubicBezTo>
                    <a:pt x="16904" y="21600"/>
                    <a:pt x="16904" y="21600"/>
                    <a:pt x="16904" y="21600"/>
                  </a:cubicBezTo>
                  <a:cubicBezTo>
                    <a:pt x="19721" y="21600"/>
                    <a:pt x="21599" y="19542"/>
                    <a:pt x="21599" y="17485"/>
                  </a:cubicBezTo>
                  <a:cubicBezTo>
                    <a:pt x="21599" y="4114"/>
                    <a:pt x="21599" y="4114"/>
                    <a:pt x="21599" y="4114"/>
                  </a:cubicBezTo>
                  <a:cubicBezTo>
                    <a:pt x="21599" y="2057"/>
                    <a:pt x="19721" y="0"/>
                    <a:pt x="16904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miter lim="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7"/>
                      </a:srgbClr>
                    </a:outerShdw>
                  </a:effectLst>
                </a14:hiddenEffects>
              </a:ext>
            </a:extLst>
          </p:spPr>
          <p:txBody>
            <a:bodyPr lIns="0" tIns="0" rIns="0" bIns="0"/>
            <a:lstStyle>
              <a:defPPr>
                <a:defRPr lang="es-ES"/>
              </a:defPPr>
              <a:lvl1pPr algn="l" rtl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1pPr>
              <a:lvl2pPr marL="457200" algn="l" rtl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2pPr>
              <a:lvl3pPr marL="914400" algn="l" rtl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3pPr>
              <a:lvl4pPr marL="1371600" algn="l" rtl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4pPr>
              <a:lvl5pPr marL="1828800" algn="l" rtl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rgbClr val="000000"/>
                  </a:solidFill>
                  <a:latin typeface="Calibri" panose="020F0502020204030204" charset="0"/>
                  <a:ea typeface="MS PGothic" panose="020B0600070205080204" pitchFamily="34" charset="-128"/>
                  <a:cs typeface="+mn-cs"/>
                  <a:sym typeface="Calibri" panose="020F0502020204030204" charset="0"/>
                </a:defRPr>
              </a:lvl9pPr>
            </a:lstStyle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</p:grpSp>
      <p:sp>
        <p:nvSpPr>
          <p:cNvPr id="36" name="深度视觉·原创设计 https://www.docer.com/works?userid=22383862"/>
          <p:cNvSpPr/>
          <p:nvPr/>
        </p:nvSpPr>
        <p:spPr bwMode="auto">
          <a:xfrm>
            <a:off x="6685609" y="2546736"/>
            <a:ext cx="782801" cy="789104"/>
          </a:xfrm>
          <a:custGeom>
            <a:avLst/>
            <a:gdLst>
              <a:gd name="T0" fmla="*/ 144 w 152"/>
              <a:gd name="T1" fmla="*/ 153 h 153"/>
              <a:gd name="T2" fmla="*/ 152 w 152"/>
              <a:gd name="T3" fmla="*/ 90 h 153"/>
              <a:gd name="T4" fmla="*/ 135 w 152"/>
              <a:gd name="T5" fmla="*/ 0 h 153"/>
              <a:gd name="T6" fmla="*/ 0 w 152"/>
              <a:gd name="T7" fmla="*/ 0 h 153"/>
              <a:gd name="T8" fmla="*/ 0 w 152"/>
              <a:gd name="T9" fmla="*/ 153 h 153"/>
              <a:gd name="T10" fmla="*/ 144 w 152"/>
              <a:gd name="T11" fmla="*/ 153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52" h="153">
                <a:moveTo>
                  <a:pt x="144" y="153"/>
                </a:moveTo>
                <a:cubicBezTo>
                  <a:pt x="149" y="133"/>
                  <a:pt x="152" y="112"/>
                  <a:pt x="152" y="90"/>
                </a:cubicBezTo>
                <a:cubicBezTo>
                  <a:pt x="152" y="58"/>
                  <a:pt x="146" y="28"/>
                  <a:pt x="135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53"/>
                  <a:pt x="0" y="153"/>
                  <a:pt x="0" y="153"/>
                </a:cubicBezTo>
                <a:lnTo>
                  <a:pt x="144" y="153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37" name="深度视觉·原创设计 https://www.docer.com/works?userid=22383862"/>
          <p:cNvSpPr/>
          <p:nvPr/>
        </p:nvSpPr>
        <p:spPr bwMode="auto">
          <a:xfrm>
            <a:off x="4720414" y="2546736"/>
            <a:ext cx="820617" cy="789104"/>
          </a:xfrm>
          <a:custGeom>
            <a:avLst/>
            <a:gdLst>
              <a:gd name="T0" fmla="*/ 17 w 159"/>
              <a:gd name="T1" fmla="*/ 0 h 153"/>
              <a:gd name="T2" fmla="*/ 0 w 159"/>
              <a:gd name="T3" fmla="*/ 90 h 153"/>
              <a:gd name="T4" fmla="*/ 8 w 159"/>
              <a:gd name="T5" fmla="*/ 153 h 153"/>
              <a:gd name="T6" fmla="*/ 159 w 159"/>
              <a:gd name="T7" fmla="*/ 153 h 153"/>
              <a:gd name="T8" fmla="*/ 159 w 159"/>
              <a:gd name="T9" fmla="*/ 0 h 153"/>
              <a:gd name="T10" fmla="*/ 17 w 159"/>
              <a:gd name="T11" fmla="*/ 0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59" h="153">
                <a:moveTo>
                  <a:pt x="17" y="0"/>
                </a:moveTo>
                <a:cubicBezTo>
                  <a:pt x="6" y="28"/>
                  <a:pt x="0" y="58"/>
                  <a:pt x="0" y="90"/>
                </a:cubicBezTo>
                <a:cubicBezTo>
                  <a:pt x="0" y="112"/>
                  <a:pt x="3" y="133"/>
                  <a:pt x="8" y="153"/>
                </a:cubicBezTo>
                <a:cubicBezTo>
                  <a:pt x="159" y="153"/>
                  <a:pt x="159" y="153"/>
                  <a:pt x="159" y="153"/>
                </a:cubicBezTo>
                <a:cubicBezTo>
                  <a:pt x="159" y="0"/>
                  <a:pt x="159" y="0"/>
                  <a:pt x="159" y="0"/>
                </a:cubicBezTo>
                <a:lnTo>
                  <a:pt x="17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38" name="深度视觉·原创设计 https://www.docer.com/works?userid=22383862"/>
          <p:cNvSpPr/>
          <p:nvPr/>
        </p:nvSpPr>
        <p:spPr bwMode="auto">
          <a:xfrm>
            <a:off x="6432239" y="1727379"/>
            <a:ext cx="917680" cy="752547"/>
          </a:xfrm>
          <a:custGeom>
            <a:avLst/>
            <a:gdLst>
              <a:gd name="T0" fmla="*/ 178 w 178"/>
              <a:gd name="T1" fmla="*/ 146 h 146"/>
              <a:gd name="T2" fmla="*/ 0 w 178"/>
              <a:gd name="T3" fmla="*/ 0 h 146"/>
              <a:gd name="T4" fmla="*/ 48 w 178"/>
              <a:gd name="T5" fmla="*/ 146 h 146"/>
              <a:gd name="T6" fmla="*/ 178 w 178"/>
              <a:gd name="T7" fmla="*/ 146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78" h="146">
                <a:moveTo>
                  <a:pt x="178" y="146"/>
                </a:moveTo>
                <a:cubicBezTo>
                  <a:pt x="145" y="74"/>
                  <a:pt x="80" y="20"/>
                  <a:pt x="0" y="0"/>
                </a:cubicBezTo>
                <a:cubicBezTo>
                  <a:pt x="48" y="146"/>
                  <a:pt x="48" y="146"/>
                  <a:pt x="48" y="146"/>
                </a:cubicBezTo>
                <a:lnTo>
                  <a:pt x="178" y="146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39" name="深度视觉·原创设计 https://www.docer.com/works?userid=22383862"/>
          <p:cNvSpPr/>
          <p:nvPr/>
        </p:nvSpPr>
        <p:spPr bwMode="auto">
          <a:xfrm>
            <a:off x="4838906" y="1722337"/>
            <a:ext cx="949193" cy="757590"/>
          </a:xfrm>
          <a:custGeom>
            <a:avLst/>
            <a:gdLst>
              <a:gd name="T0" fmla="*/ 184 w 184"/>
              <a:gd name="T1" fmla="*/ 0 h 147"/>
              <a:gd name="T2" fmla="*/ 0 w 184"/>
              <a:gd name="T3" fmla="*/ 147 h 147"/>
              <a:gd name="T4" fmla="*/ 137 w 184"/>
              <a:gd name="T5" fmla="*/ 147 h 147"/>
              <a:gd name="T6" fmla="*/ 184 w 184"/>
              <a:gd name="T7" fmla="*/ 0 h 1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84" h="147">
                <a:moveTo>
                  <a:pt x="184" y="0"/>
                </a:moveTo>
                <a:cubicBezTo>
                  <a:pt x="102" y="18"/>
                  <a:pt x="33" y="73"/>
                  <a:pt x="0" y="147"/>
                </a:cubicBezTo>
                <a:cubicBezTo>
                  <a:pt x="137" y="147"/>
                  <a:pt x="137" y="147"/>
                  <a:pt x="137" y="147"/>
                </a:cubicBezTo>
                <a:cubicBezTo>
                  <a:pt x="184" y="0"/>
                  <a:pt x="184" y="0"/>
                  <a:pt x="184" y="0"/>
                </a:cubicBezTo>
                <a:close/>
              </a:path>
            </a:pathLst>
          </a:cu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40" name="深度视觉·原创设计 https://www.docer.com/works?userid=22383862"/>
          <p:cNvSpPr/>
          <p:nvPr/>
        </p:nvSpPr>
        <p:spPr bwMode="auto">
          <a:xfrm>
            <a:off x="6437281" y="4263603"/>
            <a:ext cx="567247" cy="876081"/>
          </a:xfrm>
          <a:custGeom>
            <a:avLst/>
            <a:gdLst>
              <a:gd name="T0" fmla="*/ 1 w 110"/>
              <a:gd name="T1" fmla="*/ 170 h 170"/>
              <a:gd name="T2" fmla="*/ 36 w 110"/>
              <a:gd name="T3" fmla="*/ 170 h 170"/>
              <a:gd name="T4" fmla="*/ 77 w 110"/>
              <a:gd name="T5" fmla="*/ 131 h 170"/>
              <a:gd name="T6" fmla="*/ 84 w 110"/>
              <a:gd name="T7" fmla="*/ 78 h 170"/>
              <a:gd name="T8" fmla="*/ 98 w 110"/>
              <a:gd name="T9" fmla="*/ 23 h 170"/>
              <a:gd name="T10" fmla="*/ 110 w 110"/>
              <a:gd name="T11" fmla="*/ 0 h 170"/>
              <a:gd name="T12" fmla="*/ 13 w 110"/>
              <a:gd name="T13" fmla="*/ 0 h 170"/>
              <a:gd name="T14" fmla="*/ 0 w 110"/>
              <a:gd name="T15" fmla="*/ 157 h 170"/>
              <a:gd name="T16" fmla="*/ 1 w 110"/>
              <a:gd name="T17" fmla="*/ 170 h 1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10" h="170">
                <a:moveTo>
                  <a:pt x="1" y="170"/>
                </a:moveTo>
                <a:cubicBezTo>
                  <a:pt x="36" y="170"/>
                  <a:pt x="36" y="170"/>
                  <a:pt x="36" y="170"/>
                </a:cubicBezTo>
                <a:cubicBezTo>
                  <a:pt x="62" y="156"/>
                  <a:pt x="73" y="138"/>
                  <a:pt x="77" y="131"/>
                </a:cubicBezTo>
                <a:cubicBezTo>
                  <a:pt x="83" y="118"/>
                  <a:pt x="84" y="94"/>
                  <a:pt x="84" y="78"/>
                </a:cubicBezTo>
                <a:cubicBezTo>
                  <a:pt x="84" y="63"/>
                  <a:pt x="98" y="23"/>
                  <a:pt x="98" y="23"/>
                </a:cubicBezTo>
                <a:cubicBezTo>
                  <a:pt x="102" y="16"/>
                  <a:pt x="106" y="8"/>
                  <a:pt x="110" y="0"/>
                </a:cubicBezTo>
                <a:cubicBezTo>
                  <a:pt x="13" y="0"/>
                  <a:pt x="13" y="0"/>
                  <a:pt x="13" y="0"/>
                </a:cubicBezTo>
                <a:cubicBezTo>
                  <a:pt x="0" y="157"/>
                  <a:pt x="0" y="157"/>
                  <a:pt x="0" y="157"/>
                </a:cubicBezTo>
                <a:cubicBezTo>
                  <a:pt x="1" y="170"/>
                  <a:pt x="1" y="170"/>
                  <a:pt x="1" y="170"/>
                </a:cubicBezTo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41" name="深度视觉·原创设计 https://www.docer.com/works?userid=22383862"/>
          <p:cNvSpPr/>
          <p:nvPr/>
        </p:nvSpPr>
        <p:spPr bwMode="auto">
          <a:xfrm>
            <a:off x="5184296" y="4263603"/>
            <a:ext cx="603803" cy="876081"/>
          </a:xfrm>
          <a:custGeom>
            <a:avLst/>
            <a:gdLst>
              <a:gd name="T0" fmla="*/ 104 w 117"/>
              <a:gd name="T1" fmla="*/ 0 h 170"/>
              <a:gd name="T2" fmla="*/ 0 w 117"/>
              <a:gd name="T3" fmla="*/ 0 h 170"/>
              <a:gd name="T4" fmla="*/ 12 w 117"/>
              <a:gd name="T5" fmla="*/ 23 h 170"/>
              <a:gd name="T6" fmla="*/ 26 w 117"/>
              <a:gd name="T7" fmla="*/ 78 h 170"/>
              <a:gd name="T8" fmla="*/ 33 w 117"/>
              <a:gd name="T9" fmla="*/ 131 h 170"/>
              <a:gd name="T10" fmla="*/ 74 w 117"/>
              <a:gd name="T11" fmla="*/ 170 h 170"/>
              <a:gd name="T12" fmla="*/ 117 w 117"/>
              <a:gd name="T13" fmla="*/ 170 h 170"/>
              <a:gd name="T14" fmla="*/ 117 w 117"/>
              <a:gd name="T15" fmla="*/ 157 h 170"/>
              <a:gd name="T16" fmla="*/ 104 w 117"/>
              <a:gd name="T17" fmla="*/ 0 h 1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17" h="170">
                <a:moveTo>
                  <a:pt x="104" y="0"/>
                </a:moveTo>
                <a:cubicBezTo>
                  <a:pt x="0" y="0"/>
                  <a:pt x="0" y="0"/>
                  <a:pt x="0" y="0"/>
                </a:cubicBezTo>
                <a:cubicBezTo>
                  <a:pt x="4" y="8"/>
                  <a:pt x="8" y="16"/>
                  <a:pt x="12" y="23"/>
                </a:cubicBezTo>
                <a:cubicBezTo>
                  <a:pt x="12" y="23"/>
                  <a:pt x="26" y="63"/>
                  <a:pt x="26" y="78"/>
                </a:cubicBezTo>
                <a:cubicBezTo>
                  <a:pt x="26" y="94"/>
                  <a:pt x="27" y="118"/>
                  <a:pt x="33" y="131"/>
                </a:cubicBezTo>
                <a:cubicBezTo>
                  <a:pt x="37" y="138"/>
                  <a:pt x="49" y="156"/>
                  <a:pt x="74" y="170"/>
                </a:cubicBezTo>
                <a:cubicBezTo>
                  <a:pt x="117" y="170"/>
                  <a:pt x="117" y="170"/>
                  <a:pt x="117" y="170"/>
                </a:cubicBezTo>
                <a:cubicBezTo>
                  <a:pt x="117" y="157"/>
                  <a:pt x="117" y="157"/>
                  <a:pt x="117" y="157"/>
                </a:cubicBezTo>
                <a:cubicBezTo>
                  <a:pt x="104" y="0"/>
                  <a:pt x="104" y="0"/>
                  <a:pt x="104" y="0"/>
                </a:cubicBezTo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42" name="深度视觉·原创设计 https://www.docer.com/works?userid=22383862"/>
          <p:cNvSpPr/>
          <p:nvPr/>
        </p:nvSpPr>
        <p:spPr bwMode="auto">
          <a:xfrm>
            <a:off x="6515435" y="3402648"/>
            <a:ext cx="891208" cy="787843"/>
          </a:xfrm>
          <a:custGeom>
            <a:avLst/>
            <a:gdLst>
              <a:gd name="T0" fmla="*/ 101 w 173"/>
              <a:gd name="T1" fmla="*/ 153 h 153"/>
              <a:gd name="T2" fmla="*/ 152 w 173"/>
              <a:gd name="T3" fmla="*/ 49 h 153"/>
              <a:gd name="T4" fmla="*/ 166 w 173"/>
              <a:gd name="T5" fmla="*/ 19 h 153"/>
              <a:gd name="T6" fmla="*/ 173 w 173"/>
              <a:gd name="T7" fmla="*/ 0 h 153"/>
              <a:gd name="T8" fmla="*/ 32 w 173"/>
              <a:gd name="T9" fmla="*/ 0 h 153"/>
              <a:gd name="T10" fmla="*/ 0 w 173"/>
              <a:gd name="T11" fmla="*/ 153 h 153"/>
              <a:gd name="T12" fmla="*/ 101 w 173"/>
              <a:gd name="T13" fmla="*/ 153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73" h="153">
                <a:moveTo>
                  <a:pt x="101" y="153"/>
                </a:moveTo>
                <a:cubicBezTo>
                  <a:pt x="119" y="118"/>
                  <a:pt x="139" y="76"/>
                  <a:pt x="152" y="49"/>
                </a:cubicBezTo>
                <a:cubicBezTo>
                  <a:pt x="157" y="40"/>
                  <a:pt x="162" y="30"/>
                  <a:pt x="166" y="19"/>
                </a:cubicBezTo>
                <a:cubicBezTo>
                  <a:pt x="169" y="13"/>
                  <a:pt x="171" y="7"/>
                  <a:pt x="173" y="0"/>
                </a:cubicBezTo>
                <a:cubicBezTo>
                  <a:pt x="32" y="0"/>
                  <a:pt x="32" y="0"/>
                  <a:pt x="32" y="0"/>
                </a:cubicBezTo>
                <a:cubicBezTo>
                  <a:pt x="0" y="153"/>
                  <a:pt x="0" y="153"/>
                  <a:pt x="0" y="153"/>
                </a:cubicBezTo>
                <a:lnTo>
                  <a:pt x="101" y="153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43" name="深度视觉·原创设计 https://www.docer.com/works?userid=22383862"/>
          <p:cNvSpPr/>
          <p:nvPr/>
        </p:nvSpPr>
        <p:spPr bwMode="auto">
          <a:xfrm>
            <a:off x="4782181" y="3402648"/>
            <a:ext cx="934067" cy="787843"/>
          </a:xfrm>
          <a:custGeom>
            <a:avLst/>
            <a:gdLst>
              <a:gd name="T0" fmla="*/ 0 w 181"/>
              <a:gd name="T1" fmla="*/ 0 h 153"/>
              <a:gd name="T2" fmla="*/ 7 w 181"/>
              <a:gd name="T3" fmla="*/ 19 h 153"/>
              <a:gd name="T4" fmla="*/ 21 w 181"/>
              <a:gd name="T5" fmla="*/ 49 h 153"/>
              <a:gd name="T6" fmla="*/ 72 w 181"/>
              <a:gd name="T7" fmla="*/ 153 h 153"/>
              <a:gd name="T8" fmla="*/ 181 w 181"/>
              <a:gd name="T9" fmla="*/ 153 h 153"/>
              <a:gd name="T10" fmla="*/ 149 w 181"/>
              <a:gd name="T11" fmla="*/ 0 h 153"/>
              <a:gd name="T12" fmla="*/ 0 w 181"/>
              <a:gd name="T13" fmla="*/ 0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81" h="153">
                <a:moveTo>
                  <a:pt x="0" y="0"/>
                </a:moveTo>
                <a:cubicBezTo>
                  <a:pt x="2" y="7"/>
                  <a:pt x="4" y="13"/>
                  <a:pt x="7" y="19"/>
                </a:cubicBezTo>
                <a:cubicBezTo>
                  <a:pt x="11" y="30"/>
                  <a:pt x="16" y="40"/>
                  <a:pt x="21" y="49"/>
                </a:cubicBezTo>
                <a:cubicBezTo>
                  <a:pt x="34" y="76"/>
                  <a:pt x="55" y="118"/>
                  <a:pt x="72" y="153"/>
                </a:cubicBezTo>
                <a:cubicBezTo>
                  <a:pt x="181" y="153"/>
                  <a:pt x="181" y="153"/>
                  <a:pt x="181" y="153"/>
                </a:cubicBezTo>
                <a:cubicBezTo>
                  <a:pt x="149" y="0"/>
                  <a:pt x="149" y="0"/>
                  <a:pt x="149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44" name="深度视觉·原创设计 https://www.docer.com/works?userid=22383862"/>
          <p:cNvSpPr>
            <a:spLocks noChangeArrowheads="1"/>
          </p:cNvSpPr>
          <p:nvPr/>
        </p:nvSpPr>
        <p:spPr bwMode="auto">
          <a:xfrm>
            <a:off x="5541031" y="2546736"/>
            <a:ext cx="1144578" cy="78910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45" name="深度视觉·原创设计 https://www.docer.com/works?userid=22383862"/>
          <p:cNvSpPr/>
          <p:nvPr/>
        </p:nvSpPr>
        <p:spPr bwMode="auto">
          <a:xfrm>
            <a:off x="5546074" y="1685781"/>
            <a:ext cx="1133233" cy="794146"/>
          </a:xfrm>
          <a:custGeom>
            <a:avLst/>
            <a:gdLst>
              <a:gd name="T0" fmla="*/ 172 w 220"/>
              <a:gd name="T1" fmla="*/ 8 h 154"/>
              <a:gd name="T2" fmla="*/ 107 w 220"/>
              <a:gd name="T3" fmla="*/ 0 h 154"/>
              <a:gd name="T4" fmla="*/ 47 w 220"/>
              <a:gd name="T5" fmla="*/ 7 h 154"/>
              <a:gd name="T6" fmla="*/ 47 w 220"/>
              <a:gd name="T7" fmla="*/ 7 h 154"/>
              <a:gd name="T8" fmla="*/ 0 w 220"/>
              <a:gd name="T9" fmla="*/ 154 h 154"/>
              <a:gd name="T10" fmla="*/ 220 w 220"/>
              <a:gd name="T11" fmla="*/ 154 h 154"/>
              <a:gd name="T12" fmla="*/ 172 w 220"/>
              <a:gd name="T13" fmla="*/ 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20" h="154">
                <a:moveTo>
                  <a:pt x="172" y="8"/>
                </a:moveTo>
                <a:cubicBezTo>
                  <a:pt x="151" y="3"/>
                  <a:pt x="129" y="0"/>
                  <a:pt x="107" y="0"/>
                </a:cubicBezTo>
                <a:cubicBezTo>
                  <a:pt x="86" y="0"/>
                  <a:pt x="66" y="2"/>
                  <a:pt x="47" y="7"/>
                </a:cubicBezTo>
                <a:cubicBezTo>
                  <a:pt x="47" y="7"/>
                  <a:pt x="47" y="7"/>
                  <a:pt x="47" y="7"/>
                </a:cubicBezTo>
                <a:cubicBezTo>
                  <a:pt x="0" y="154"/>
                  <a:pt x="0" y="154"/>
                  <a:pt x="0" y="154"/>
                </a:cubicBezTo>
                <a:cubicBezTo>
                  <a:pt x="220" y="154"/>
                  <a:pt x="220" y="154"/>
                  <a:pt x="220" y="154"/>
                </a:cubicBezTo>
                <a:lnTo>
                  <a:pt x="172" y="8"/>
                </a:lnTo>
                <a:close/>
              </a:path>
            </a:pathLst>
          </a:cu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46" name="深度视觉·原创设计 https://www.docer.com/works?userid=22383862"/>
          <p:cNvSpPr/>
          <p:nvPr/>
        </p:nvSpPr>
        <p:spPr bwMode="auto">
          <a:xfrm>
            <a:off x="5721290" y="4263603"/>
            <a:ext cx="782801" cy="876081"/>
          </a:xfrm>
          <a:custGeom>
            <a:avLst/>
            <a:gdLst>
              <a:gd name="T0" fmla="*/ 621 w 621"/>
              <a:gd name="T1" fmla="*/ 0 h 695"/>
              <a:gd name="T2" fmla="*/ 0 w 621"/>
              <a:gd name="T3" fmla="*/ 0 h 695"/>
              <a:gd name="T4" fmla="*/ 0 w 621"/>
              <a:gd name="T5" fmla="*/ 0 h 695"/>
              <a:gd name="T6" fmla="*/ 53 w 621"/>
              <a:gd name="T7" fmla="*/ 642 h 695"/>
              <a:gd name="T8" fmla="*/ 53 w 621"/>
              <a:gd name="T9" fmla="*/ 695 h 695"/>
              <a:gd name="T10" fmla="*/ 298 w 621"/>
              <a:gd name="T11" fmla="*/ 695 h 695"/>
              <a:gd name="T12" fmla="*/ 572 w 621"/>
              <a:gd name="T13" fmla="*/ 695 h 695"/>
              <a:gd name="T14" fmla="*/ 568 w 621"/>
              <a:gd name="T15" fmla="*/ 642 h 695"/>
              <a:gd name="T16" fmla="*/ 621 w 621"/>
              <a:gd name="T17" fmla="*/ 0 h 6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621" h="695">
                <a:moveTo>
                  <a:pt x="621" y="0"/>
                </a:moveTo>
                <a:lnTo>
                  <a:pt x="0" y="0"/>
                </a:lnTo>
                <a:lnTo>
                  <a:pt x="0" y="0"/>
                </a:lnTo>
                <a:lnTo>
                  <a:pt x="53" y="642"/>
                </a:lnTo>
                <a:lnTo>
                  <a:pt x="53" y="695"/>
                </a:lnTo>
                <a:lnTo>
                  <a:pt x="298" y="695"/>
                </a:lnTo>
                <a:lnTo>
                  <a:pt x="572" y="695"/>
                </a:lnTo>
                <a:lnTo>
                  <a:pt x="568" y="642"/>
                </a:lnTo>
                <a:lnTo>
                  <a:pt x="621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47" name="深度视觉·原创设计 https://www.docer.com/works?userid=22383862"/>
          <p:cNvSpPr/>
          <p:nvPr/>
        </p:nvSpPr>
        <p:spPr bwMode="auto">
          <a:xfrm>
            <a:off x="5721290" y="4263603"/>
            <a:ext cx="782801" cy="876081"/>
          </a:xfrm>
          <a:custGeom>
            <a:avLst/>
            <a:gdLst>
              <a:gd name="T0" fmla="*/ 621 w 621"/>
              <a:gd name="T1" fmla="*/ 0 h 695"/>
              <a:gd name="T2" fmla="*/ 0 w 621"/>
              <a:gd name="T3" fmla="*/ 0 h 695"/>
              <a:gd name="T4" fmla="*/ 0 w 621"/>
              <a:gd name="T5" fmla="*/ 0 h 695"/>
              <a:gd name="T6" fmla="*/ 53 w 621"/>
              <a:gd name="T7" fmla="*/ 642 h 695"/>
              <a:gd name="T8" fmla="*/ 53 w 621"/>
              <a:gd name="T9" fmla="*/ 695 h 695"/>
              <a:gd name="T10" fmla="*/ 298 w 621"/>
              <a:gd name="T11" fmla="*/ 695 h 695"/>
              <a:gd name="T12" fmla="*/ 572 w 621"/>
              <a:gd name="T13" fmla="*/ 695 h 695"/>
              <a:gd name="T14" fmla="*/ 568 w 621"/>
              <a:gd name="T15" fmla="*/ 642 h 695"/>
              <a:gd name="T16" fmla="*/ 621 w 621"/>
              <a:gd name="T17" fmla="*/ 0 h 6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621" h="695">
                <a:moveTo>
                  <a:pt x="621" y="0"/>
                </a:moveTo>
                <a:lnTo>
                  <a:pt x="0" y="0"/>
                </a:lnTo>
                <a:lnTo>
                  <a:pt x="0" y="0"/>
                </a:lnTo>
                <a:lnTo>
                  <a:pt x="53" y="642"/>
                </a:lnTo>
                <a:lnTo>
                  <a:pt x="53" y="695"/>
                </a:lnTo>
                <a:lnTo>
                  <a:pt x="298" y="695"/>
                </a:lnTo>
                <a:lnTo>
                  <a:pt x="572" y="695"/>
                </a:lnTo>
                <a:lnTo>
                  <a:pt x="568" y="642"/>
                </a:lnTo>
                <a:lnTo>
                  <a:pt x="621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en-US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48" name="深度视觉·原创设计 https://www.docer.com/works?userid=22383862"/>
          <p:cNvSpPr/>
          <p:nvPr/>
        </p:nvSpPr>
        <p:spPr bwMode="auto">
          <a:xfrm>
            <a:off x="5721290" y="4263603"/>
            <a:ext cx="66809" cy="809273"/>
          </a:xfrm>
          <a:custGeom>
            <a:avLst/>
            <a:gdLst>
              <a:gd name="T0" fmla="*/ 0 w 53"/>
              <a:gd name="T1" fmla="*/ 0 h 642"/>
              <a:gd name="T2" fmla="*/ 0 w 53"/>
              <a:gd name="T3" fmla="*/ 0 h 642"/>
              <a:gd name="T4" fmla="*/ 53 w 53"/>
              <a:gd name="T5" fmla="*/ 642 h 642"/>
              <a:gd name="T6" fmla="*/ 0 w 53"/>
              <a:gd name="T7" fmla="*/ 0 h 6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3" h="642">
                <a:moveTo>
                  <a:pt x="0" y="0"/>
                </a:moveTo>
                <a:lnTo>
                  <a:pt x="0" y="0"/>
                </a:lnTo>
                <a:lnTo>
                  <a:pt x="53" y="642"/>
                </a:lnTo>
                <a:lnTo>
                  <a:pt x="0" y="0"/>
                </a:lnTo>
                <a:close/>
              </a:path>
            </a:pathLst>
          </a:custGeom>
          <a:solidFill>
            <a:srgbClr val="153B6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en-US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49" name="深度视觉·原创设计 https://www.docer.com/works?userid=22383862"/>
          <p:cNvSpPr/>
          <p:nvPr/>
        </p:nvSpPr>
        <p:spPr bwMode="auto">
          <a:xfrm>
            <a:off x="5721290" y="4263603"/>
            <a:ext cx="66809" cy="809273"/>
          </a:xfrm>
          <a:custGeom>
            <a:avLst/>
            <a:gdLst>
              <a:gd name="T0" fmla="*/ 0 w 53"/>
              <a:gd name="T1" fmla="*/ 0 h 642"/>
              <a:gd name="T2" fmla="*/ 0 w 53"/>
              <a:gd name="T3" fmla="*/ 0 h 642"/>
              <a:gd name="T4" fmla="*/ 53 w 53"/>
              <a:gd name="T5" fmla="*/ 642 h 642"/>
              <a:gd name="T6" fmla="*/ 0 w 53"/>
              <a:gd name="T7" fmla="*/ 0 h 6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3" h="642">
                <a:moveTo>
                  <a:pt x="0" y="0"/>
                </a:moveTo>
                <a:lnTo>
                  <a:pt x="0" y="0"/>
                </a:lnTo>
                <a:lnTo>
                  <a:pt x="53" y="642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en-US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50" name="深度视觉·原创设计 https://www.docer.com/works?userid=22383862"/>
          <p:cNvSpPr/>
          <p:nvPr/>
        </p:nvSpPr>
        <p:spPr bwMode="auto">
          <a:xfrm>
            <a:off x="5551116" y="3402648"/>
            <a:ext cx="1128191" cy="787843"/>
          </a:xfrm>
          <a:custGeom>
            <a:avLst/>
            <a:gdLst>
              <a:gd name="T0" fmla="*/ 131 w 895"/>
              <a:gd name="T1" fmla="*/ 625 h 625"/>
              <a:gd name="T2" fmla="*/ 765 w 895"/>
              <a:gd name="T3" fmla="*/ 625 h 625"/>
              <a:gd name="T4" fmla="*/ 895 w 895"/>
              <a:gd name="T5" fmla="*/ 0 h 625"/>
              <a:gd name="T6" fmla="*/ 0 w 895"/>
              <a:gd name="T7" fmla="*/ 0 h 625"/>
              <a:gd name="T8" fmla="*/ 131 w 895"/>
              <a:gd name="T9" fmla="*/ 625 h 6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95" h="625">
                <a:moveTo>
                  <a:pt x="131" y="625"/>
                </a:moveTo>
                <a:lnTo>
                  <a:pt x="765" y="625"/>
                </a:lnTo>
                <a:lnTo>
                  <a:pt x="895" y="0"/>
                </a:lnTo>
                <a:lnTo>
                  <a:pt x="0" y="0"/>
                </a:lnTo>
                <a:lnTo>
                  <a:pt x="131" y="625"/>
                </a:lnTo>
                <a:close/>
              </a:path>
            </a:pathLst>
          </a:cu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51" name="深度视觉·原创设计 https://www.docer.com/works?userid=22383862"/>
          <p:cNvSpPr>
            <a:spLocks noEditPoints="1"/>
          </p:cNvSpPr>
          <p:nvPr/>
        </p:nvSpPr>
        <p:spPr bwMode="auto">
          <a:xfrm>
            <a:off x="5823394" y="3639632"/>
            <a:ext cx="263454" cy="380686"/>
          </a:xfrm>
          <a:custGeom>
            <a:avLst/>
            <a:gdLst>
              <a:gd name="T0" fmla="*/ 27 w 51"/>
              <a:gd name="T1" fmla="*/ 74 h 74"/>
              <a:gd name="T2" fmla="*/ 17 w 51"/>
              <a:gd name="T3" fmla="*/ 73 h 74"/>
              <a:gd name="T4" fmla="*/ 9 w 51"/>
              <a:gd name="T5" fmla="*/ 70 h 74"/>
              <a:gd name="T6" fmla="*/ 3 w 51"/>
              <a:gd name="T7" fmla="*/ 63 h 74"/>
              <a:gd name="T8" fmla="*/ 0 w 51"/>
              <a:gd name="T9" fmla="*/ 52 h 74"/>
              <a:gd name="T10" fmla="*/ 0 w 51"/>
              <a:gd name="T11" fmla="*/ 25 h 74"/>
              <a:gd name="T12" fmla="*/ 2 w 51"/>
              <a:gd name="T13" fmla="*/ 13 h 74"/>
              <a:gd name="T14" fmla="*/ 8 w 51"/>
              <a:gd name="T15" fmla="*/ 5 h 74"/>
              <a:gd name="T16" fmla="*/ 16 w 51"/>
              <a:gd name="T17" fmla="*/ 1 h 74"/>
              <a:gd name="T18" fmla="*/ 27 w 51"/>
              <a:gd name="T19" fmla="*/ 0 h 74"/>
              <a:gd name="T20" fmla="*/ 36 w 51"/>
              <a:gd name="T21" fmla="*/ 1 h 74"/>
              <a:gd name="T22" fmla="*/ 44 w 51"/>
              <a:gd name="T23" fmla="*/ 5 h 74"/>
              <a:gd name="T24" fmla="*/ 49 w 51"/>
              <a:gd name="T25" fmla="*/ 12 h 74"/>
              <a:gd name="T26" fmla="*/ 51 w 51"/>
              <a:gd name="T27" fmla="*/ 24 h 74"/>
              <a:gd name="T28" fmla="*/ 51 w 51"/>
              <a:gd name="T29" fmla="*/ 50 h 74"/>
              <a:gd name="T30" fmla="*/ 49 w 51"/>
              <a:gd name="T31" fmla="*/ 63 h 74"/>
              <a:gd name="T32" fmla="*/ 43 w 51"/>
              <a:gd name="T33" fmla="*/ 70 h 74"/>
              <a:gd name="T34" fmla="*/ 36 w 51"/>
              <a:gd name="T35" fmla="*/ 73 h 74"/>
              <a:gd name="T36" fmla="*/ 27 w 51"/>
              <a:gd name="T37" fmla="*/ 74 h 74"/>
              <a:gd name="T38" fmla="*/ 38 w 51"/>
              <a:gd name="T39" fmla="*/ 26 h 74"/>
              <a:gd name="T40" fmla="*/ 35 w 51"/>
              <a:gd name="T41" fmla="*/ 15 h 74"/>
              <a:gd name="T42" fmla="*/ 27 w 51"/>
              <a:gd name="T43" fmla="*/ 12 h 74"/>
              <a:gd name="T44" fmla="*/ 20 w 51"/>
              <a:gd name="T45" fmla="*/ 13 h 74"/>
              <a:gd name="T46" fmla="*/ 16 w 51"/>
              <a:gd name="T47" fmla="*/ 16 h 74"/>
              <a:gd name="T48" fmla="*/ 14 w 51"/>
              <a:gd name="T49" fmla="*/ 20 h 74"/>
              <a:gd name="T50" fmla="*/ 14 w 51"/>
              <a:gd name="T51" fmla="*/ 27 h 74"/>
              <a:gd name="T52" fmla="*/ 14 w 51"/>
              <a:gd name="T53" fmla="*/ 51 h 74"/>
              <a:gd name="T54" fmla="*/ 17 w 51"/>
              <a:gd name="T55" fmla="*/ 60 h 74"/>
              <a:gd name="T56" fmla="*/ 26 w 51"/>
              <a:gd name="T57" fmla="*/ 62 h 74"/>
              <a:gd name="T58" fmla="*/ 31 w 51"/>
              <a:gd name="T59" fmla="*/ 62 h 74"/>
              <a:gd name="T60" fmla="*/ 35 w 51"/>
              <a:gd name="T61" fmla="*/ 60 h 74"/>
              <a:gd name="T62" fmla="*/ 37 w 51"/>
              <a:gd name="T63" fmla="*/ 56 h 74"/>
              <a:gd name="T64" fmla="*/ 38 w 51"/>
              <a:gd name="T65" fmla="*/ 50 h 74"/>
              <a:gd name="T66" fmla="*/ 38 w 51"/>
              <a:gd name="T67" fmla="*/ 26 h 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51" h="74">
                <a:moveTo>
                  <a:pt x="27" y="74"/>
                </a:moveTo>
                <a:cubicBezTo>
                  <a:pt x="23" y="74"/>
                  <a:pt x="20" y="74"/>
                  <a:pt x="17" y="73"/>
                </a:cubicBezTo>
                <a:cubicBezTo>
                  <a:pt x="14" y="73"/>
                  <a:pt x="11" y="72"/>
                  <a:pt x="9" y="70"/>
                </a:cubicBezTo>
                <a:cubicBezTo>
                  <a:pt x="6" y="68"/>
                  <a:pt x="4" y="66"/>
                  <a:pt x="3" y="63"/>
                </a:cubicBezTo>
                <a:cubicBezTo>
                  <a:pt x="1" y="60"/>
                  <a:pt x="0" y="56"/>
                  <a:pt x="0" y="52"/>
                </a:cubicBezTo>
                <a:cubicBezTo>
                  <a:pt x="0" y="25"/>
                  <a:pt x="0" y="25"/>
                  <a:pt x="0" y="25"/>
                </a:cubicBezTo>
                <a:cubicBezTo>
                  <a:pt x="0" y="20"/>
                  <a:pt x="1" y="16"/>
                  <a:pt x="2" y="13"/>
                </a:cubicBezTo>
                <a:cubicBezTo>
                  <a:pt x="4" y="10"/>
                  <a:pt x="5" y="7"/>
                  <a:pt x="8" y="5"/>
                </a:cubicBezTo>
                <a:cubicBezTo>
                  <a:pt x="10" y="3"/>
                  <a:pt x="13" y="2"/>
                  <a:pt x="16" y="1"/>
                </a:cubicBezTo>
                <a:cubicBezTo>
                  <a:pt x="19" y="1"/>
                  <a:pt x="23" y="0"/>
                  <a:pt x="27" y="0"/>
                </a:cubicBezTo>
                <a:cubicBezTo>
                  <a:pt x="30" y="0"/>
                  <a:pt x="33" y="1"/>
                  <a:pt x="36" y="1"/>
                </a:cubicBezTo>
                <a:cubicBezTo>
                  <a:pt x="39" y="2"/>
                  <a:pt x="42" y="3"/>
                  <a:pt x="44" y="5"/>
                </a:cubicBezTo>
                <a:cubicBezTo>
                  <a:pt x="46" y="6"/>
                  <a:pt x="48" y="9"/>
                  <a:pt x="49" y="12"/>
                </a:cubicBezTo>
                <a:cubicBezTo>
                  <a:pt x="50" y="15"/>
                  <a:pt x="51" y="19"/>
                  <a:pt x="51" y="24"/>
                </a:cubicBezTo>
                <a:cubicBezTo>
                  <a:pt x="51" y="50"/>
                  <a:pt x="51" y="50"/>
                  <a:pt x="51" y="50"/>
                </a:cubicBezTo>
                <a:cubicBezTo>
                  <a:pt x="51" y="55"/>
                  <a:pt x="50" y="59"/>
                  <a:pt x="49" y="63"/>
                </a:cubicBezTo>
                <a:cubicBezTo>
                  <a:pt x="48" y="66"/>
                  <a:pt x="46" y="68"/>
                  <a:pt x="43" y="70"/>
                </a:cubicBezTo>
                <a:cubicBezTo>
                  <a:pt x="41" y="72"/>
                  <a:pt x="39" y="73"/>
                  <a:pt x="36" y="73"/>
                </a:cubicBezTo>
                <a:cubicBezTo>
                  <a:pt x="33" y="74"/>
                  <a:pt x="30" y="74"/>
                  <a:pt x="27" y="74"/>
                </a:cubicBezTo>
                <a:close/>
                <a:moveTo>
                  <a:pt x="38" y="26"/>
                </a:moveTo>
                <a:cubicBezTo>
                  <a:pt x="38" y="21"/>
                  <a:pt x="37" y="17"/>
                  <a:pt x="35" y="15"/>
                </a:cubicBezTo>
                <a:cubicBezTo>
                  <a:pt x="34" y="13"/>
                  <a:pt x="31" y="12"/>
                  <a:pt x="27" y="12"/>
                </a:cubicBezTo>
                <a:cubicBezTo>
                  <a:pt x="24" y="12"/>
                  <a:pt x="22" y="12"/>
                  <a:pt x="20" y="13"/>
                </a:cubicBezTo>
                <a:cubicBezTo>
                  <a:pt x="19" y="14"/>
                  <a:pt x="17" y="14"/>
                  <a:pt x="16" y="16"/>
                </a:cubicBezTo>
                <a:cubicBezTo>
                  <a:pt x="15" y="17"/>
                  <a:pt x="15" y="18"/>
                  <a:pt x="14" y="20"/>
                </a:cubicBezTo>
                <a:cubicBezTo>
                  <a:pt x="14" y="22"/>
                  <a:pt x="14" y="24"/>
                  <a:pt x="14" y="27"/>
                </a:cubicBezTo>
                <a:cubicBezTo>
                  <a:pt x="14" y="51"/>
                  <a:pt x="14" y="51"/>
                  <a:pt x="14" y="51"/>
                </a:cubicBezTo>
                <a:cubicBezTo>
                  <a:pt x="14" y="55"/>
                  <a:pt x="15" y="58"/>
                  <a:pt x="17" y="60"/>
                </a:cubicBezTo>
                <a:cubicBezTo>
                  <a:pt x="20" y="61"/>
                  <a:pt x="23" y="62"/>
                  <a:pt x="26" y="62"/>
                </a:cubicBezTo>
                <a:cubicBezTo>
                  <a:pt x="28" y="62"/>
                  <a:pt x="30" y="62"/>
                  <a:pt x="31" y="62"/>
                </a:cubicBezTo>
                <a:cubicBezTo>
                  <a:pt x="33" y="61"/>
                  <a:pt x="34" y="61"/>
                  <a:pt x="35" y="60"/>
                </a:cubicBezTo>
                <a:cubicBezTo>
                  <a:pt x="36" y="59"/>
                  <a:pt x="37" y="58"/>
                  <a:pt x="37" y="56"/>
                </a:cubicBezTo>
                <a:cubicBezTo>
                  <a:pt x="38" y="54"/>
                  <a:pt x="38" y="52"/>
                  <a:pt x="38" y="50"/>
                </a:cubicBezTo>
                <a:lnTo>
                  <a:pt x="38" y="26"/>
                </a:lnTo>
                <a:close/>
              </a:path>
            </a:pathLst>
          </a:custGeom>
          <a:solidFill>
            <a:srgbClr val="E9E9E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en-US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52" name="深度视觉·原创设计 https://www.docer.com/works?userid=22383862"/>
          <p:cNvSpPr/>
          <p:nvPr/>
        </p:nvSpPr>
        <p:spPr bwMode="auto">
          <a:xfrm>
            <a:off x="6148615" y="3639632"/>
            <a:ext cx="231941" cy="380686"/>
          </a:xfrm>
          <a:custGeom>
            <a:avLst/>
            <a:gdLst>
              <a:gd name="T0" fmla="*/ 22 w 45"/>
              <a:gd name="T1" fmla="*/ 74 h 74"/>
              <a:gd name="T2" fmla="*/ 9 w 45"/>
              <a:gd name="T3" fmla="*/ 73 h 74"/>
              <a:gd name="T4" fmla="*/ 0 w 45"/>
              <a:gd name="T5" fmla="*/ 69 h 74"/>
              <a:gd name="T6" fmla="*/ 0 w 45"/>
              <a:gd name="T7" fmla="*/ 67 h 74"/>
              <a:gd name="T8" fmla="*/ 1 w 45"/>
              <a:gd name="T9" fmla="*/ 63 h 74"/>
              <a:gd name="T10" fmla="*/ 2 w 45"/>
              <a:gd name="T11" fmla="*/ 60 h 74"/>
              <a:gd name="T12" fmla="*/ 4 w 45"/>
              <a:gd name="T13" fmla="*/ 58 h 74"/>
              <a:gd name="T14" fmla="*/ 11 w 45"/>
              <a:gd name="T15" fmla="*/ 61 h 74"/>
              <a:gd name="T16" fmla="*/ 20 w 45"/>
              <a:gd name="T17" fmla="*/ 62 h 74"/>
              <a:gd name="T18" fmla="*/ 29 w 45"/>
              <a:gd name="T19" fmla="*/ 60 h 74"/>
              <a:gd name="T20" fmla="*/ 32 w 45"/>
              <a:gd name="T21" fmla="*/ 53 h 74"/>
              <a:gd name="T22" fmla="*/ 31 w 45"/>
              <a:gd name="T23" fmla="*/ 48 h 74"/>
              <a:gd name="T24" fmla="*/ 28 w 45"/>
              <a:gd name="T25" fmla="*/ 45 h 74"/>
              <a:gd name="T26" fmla="*/ 24 w 45"/>
              <a:gd name="T27" fmla="*/ 43 h 74"/>
              <a:gd name="T28" fmla="*/ 18 w 45"/>
              <a:gd name="T29" fmla="*/ 42 h 74"/>
              <a:gd name="T30" fmla="*/ 15 w 45"/>
              <a:gd name="T31" fmla="*/ 42 h 74"/>
              <a:gd name="T32" fmla="*/ 14 w 45"/>
              <a:gd name="T33" fmla="*/ 39 h 74"/>
              <a:gd name="T34" fmla="*/ 14 w 45"/>
              <a:gd name="T35" fmla="*/ 35 h 74"/>
              <a:gd name="T36" fmla="*/ 15 w 45"/>
              <a:gd name="T37" fmla="*/ 32 h 74"/>
              <a:gd name="T38" fmla="*/ 18 w 45"/>
              <a:gd name="T39" fmla="*/ 32 h 74"/>
              <a:gd name="T40" fmla="*/ 28 w 45"/>
              <a:gd name="T41" fmla="*/ 28 h 74"/>
              <a:gd name="T42" fmla="*/ 32 w 45"/>
              <a:gd name="T43" fmla="*/ 20 h 74"/>
              <a:gd name="T44" fmla="*/ 29 w 45"/>
              <a:gd name="T45" fmla="*/ 14 h 74"/>
              <a:gd name="T46" fmla="*/ 19 w 45"/>
              <a:gd name="T47" fmla="*/ 11 h 74"/>
              <a:gd name="T48" fmla="*/ 12 w 45"/>
              <a:gd name="T49" fmla="*/ 13 h 74"/>
              <a:gd name="T50" fmla="*/ 6 w 45"/>
              <a:gd name="T51" fmla="*/ 16 h 74"/>
              <a:gd name="T52" fmla="*/ 4 w 45"/>
              <a:gd name="T53" fmla="*/ 15 h 74"/>
              <a:gd name="T54" fmla="*/ 3 w 45"/>
              <a:gd name="T55" fmla="*/ 11 h 74"/>
              <a:gd name="T56" fmla="*/ 2 w 45"/>
              <a:gd name="T57" fmla="*/ 8 h 74"/>
              <a:gd name="T58" fmla="*/ 2 w 45"/>
              <a:gd name="T59" fmla="*/ 5 h 74"/>
              <a:gd name="T60" fmla="*/ 5 w 45"/>
              <a:gd name="T61" fmla="*/ 3 h 74"/>
              <a:gd name="T62" fmla="*/ 8 w 45"/>
              <a:gd name="T63" fmla="*/ 2 h 74"/>
              <a:gd name="T64" fmla="*/ 14 w 45"/>
              <a:gd name="T65" fmla="*/ 1 h 74"/>
              <a:gd name="T66" fmla="*/ 21 w 45"/>
              <a:gd name="T67" fmla="*/ 0 h 74"/>
              <a:gd name="T68" fmla="*/ 39 w 45"/>
              <a:gd name="T69" fmla="*/ 5 h 74"/>
              <a:gd name="T70" fmla="*/ 45 w 45"/>
              <a:gd name="T71" fmla="*/ 19 h 74"/>
              <a:gd name="T72" fmla="*/ 42 w 45"/>
              <a:gd name="T73" fmla="*/ 30 h 74"/>
              <a:gd name="T74" fmla="*/ 35 w 45"/>
              <a:gd name="T75" fmla="*/ 37 h 74"/>
              <a:gd name="T76" fmla="*/ 42 w 45"/>
              <a:gd name="T77" fmla="*/ 43 h 74"/>
              <a:gd name="T78" fmla="*/ 45 w 45"/>
              <a:gd name="T79" fmla="*/ 54 h 74"/>
              <a:gd name="T80" fmla="*/ 44 w 45"/>
              <a:gd name="T81" fmla="*/ 63 h 74"/>
              <a:gd name="T82" fmla="*/ 38 w 45"/>
              <a:gd name="T83" fmla="*/ 69 h 74"/>
              <a:gd name="T84" fmla="*/ 31 w 45"/>
              <a:gd name="T85" fmla="*/ 73 h 74"/>
              <a:gd name="T86" fmla="*/ 22 w 45"/>
              <a:gd name="T87" fmla="*/ 74 h 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45" h="74">
                <a:moveTo>
                  <a:pt x="22" y="74"/>
                </a:moveTo>
                <a:cubicBezTo>
                  <a:pt x="17" y="74"/>
                  <a:pt x="13" y="74"/>
                  <a:pt x="9" y="73"/>
                </a:cubicBezTo>
                <a:cubicBezTo>
                  <a:pt x="5" y="71"/>
                  <a:pt x="2" y="70"/>
                  <a:pt x="0" y="69"/>
                </a:cubicBezTo>
                <a:cubicBezTo>
                  <a:pt x="0" y="69"/>
                  <a:pt x="0" y="68"/>
                  <a:pt x="0" y="67"/>
                </a:cubicBezTo>
                <a:cubicBezTo>
                  <a:pt x="0" y="66"/>
                  <a:pt x="0" y="65"/>
                  <a:pt x="1" y="63"/>
                </a:cubicBezTo>
                <a:cubicBezTo>
                  <a:pt x="1" y="62"/>
                  <a:pt x="2" y="61"/>
                  <a:pt x="2" y="60"/>
                </a:cubicBezTo>
                <a:cubicBezTo>
                  <a:pt x="3" y="59"/>
                  <a:pt x="3" y="58"/>
                  <a:pt x="4" y="58"/>
                </a:cubicBezTo>
                <a:cubicBezTo>
                  <a:pt x="6" y="59"/>
                  <a:pt x="8" y="60"/>
                  <a:pt x="11" y="61"/>
                </a:cubicBezTo>
                <a:cubicBezTo>
                  <a:pt x="14" y="62"/>
                  <a:pt x="17" y="62"/>
                  <a:pt x="20" y="62"/>
                </a:cubicBezTo>
                <a:cubicBezTo>
                  <a:pt x="24" y="62"/>
                  <a:pt x="27" y="61"/>
                  <a:pt x="29" y="60"/>
                </a:cubicBezTo>
                <a:cubicBezTo>
                  <a:pt x="31" y="58"/>
                  <a:pt x="32" y="56"/>
                  <a:pt x="32" y="53"/>
                </a:cubicBezTo>
                <a:cubicBezTo>
                  <a:pt x="32" y="51"/>
                  <a:pt x="32" y="50"/>
                  <a:pt x="31" y="48"/>
                </a:cubicBezTo>
                <a:cubicBezTo>
                  <a:pt x="30" y="47"/>
                  <a:pt x="29" y="46"/>
                  <a:pt x="28" y="45"/>
                </a:cubicBezTo>
                <a:cubicBezTo>
                  <a:pt x="27" y="44"/>
                  <a:pt x="25" y="43"/>
                  <a:pt x="24" y="43"/>
                </a:cubicBezTo>
                <a:cubicBezTo>
                  <a:pt x="22" y="42"/>
                  <a:pt x="20" y="42"/>
                  <a:pt x="18" y="42"/>
                </a:cubicBezTo>
                <a:cubicBezTo>
                  <a:pt x="17" y="42"/>
                  <a:pt x="16" y="42"/>
                  <a:pt x="15" y="42"/>
                </a:cubicBezTo>
                <a:cubicBezTo>
                  <a:pt x="14" y="41"/>
                  <a:pt x="14" y="41"/>
                  <a:pt x="14" y="39"/>
                </a:cubicBezTo>
                <a:cubicBezTo>
                  <a:pt x="14" y="35"/>
                  <a:pt x="14" y="35"/>
                  <a:pt x="14" y="35"/>
                </a:cubicBezTo>
                <a:cubicBezTo>
                  <a:pt x="14" y="33"/>
                  <a:pt x="14" y="32"/>
                  <a:pt x="15" y="32"/>
                </a:cubicBezTo>
                <a:cubicBezTo>
                  <a:pt x="16" y="32"/>
                  <a:pt x="17" y="32"/>
                  <a:pt x="18" y="32"/>
                </a:cubicBezTo>
                <a:cubicBezTo>
                  <a:pt x="23" y="31"/>
                  <a:pt x="26" y="30"/>
                  <a:pt x="28" y="28"/>
                </a:cubicBezTo>
                <a:cubicBezTo>
                  <a:pt x="31" y="27"/>
                  <a:pt x="32" y="24"/>
                  <a:pt x="32" y="20"/>
                </a:cubicBezTo>
                <a:cubicBezTo>
                  <a:pt x="32" y="18"/>
                  <a:pt x="31" y="16"/>
                  <a:pt x="29" y="14"/>
                </a:cubicBezTo>
                <a:cubicBezTo>
                  <a:pt x="27" y="12"/>
                  <a:pt x="23" y="11"/>
                  <a:pt x="19" y="11"/>
                </a:cubicBezTo>
                <a:cubicBezTo>
                  <a:pt x="17" y="11"/>
                  <a:pt x="14" y="12"/>
                  <a:pt x="12" y="13"/>
                </a:cubicBezTo>
                <a:cubicBezTo>
                  <a:pt x="10" y="13"/>
                  <a:pt x="8" y="14"/>
                  <a:pt x="6" y="16"/>
                </a:cubicBezTo>
                <a:cubicBezTo>
                  <a:pt x="5" y="16"/>
                  <a:pt x="5" y="16"/>
                  <a:pt x="4" y="15"/>
                </a:cubicBezTo>
                <a:cubicBezTo>
                  <a:pt x="4" y="14"/>
                  <a:pt x="3" y="13"/>
                  <a:pt x="3" y="11"/>
                </a:cubicBezTo>
                <a:cubicBezTo>
                  <a:pt x="2" y="10"/>
                  <a:pt x="2" y="9"/>
                  <a:pt x="2" y="8"/>
                </a:cubicBezTo>
                <a:cubicBezTo>
                  <a:pt x="1" y="6"/>
                  <a:pt x="1" y="6"/>
                  <a:pt x="2" y="5"/>
                </a:cubicBezTo>
                <a:cubicBezTo>
                  <a:pt x="3" y="5"/>
                  <a:pt x="4" y="4"/>
                  <a:pt x="5" y="3"/>
                </a:cubicBezTo>
                <a:cubicBezTo>
                  <a:pt x="6" y="3"/>
                  <a:pt x="7" y="2"/>
                  <a:pt x="8" y="2"/>
                </a:cubicBezTo>
                <a:cubicBezTo>
                  <a:pt x="10" y="1"/>
                  <a:pt x="12" y="1"/>
                  <a:pt x="14" y="1"/>
                </a:cubicBezTo>
                <a:cubicBezTo>
                  <a:pt x="16" y="0"/>
                  <a:pt x="18" y="0"/>
                  <a:pt x="21" y="0"/>
                </a:cubicBezTo>
                <a:cubicBezTo>
                  <a:pt x="29" y="0"/>
                  <a:pt x="35" y="2"/>
                  <a:pt x="39" y="5"/>
                </a:cubicBezTo>
                <a:cubicBezTo>
                  <a:pt x="43" y="8"/>
                  <a:pt x="45" y="13"/>
                  <a:pt x="45" y="19"/>
                </a:cubicBezTo>
                <a:cubicBezTo>
                  <a:pt x="45" y="23"/>
                  <a:pt x="44" y="27"/>
                  <a:pt x="42" y="30"/>
                </a:cubicBezTo>
                <a:cubicBezTo>
                  <a:pt x="40" y="33"/>
                  <a:pt x="37" y="35"/>
                  <a:pt x="35" y="37"/>
                </a:cubicBezTo>
                <a:cubicBezTo>
                  <a:pt x="38" y="38"/>
                  <a:pt x="40" y="40"/>
                  <a:pt x="42" y="43"/>
                </a:cubicBezTo>
                <a:cubicBezTo>
                  <a:pt x="44" y="46"/>
                  <a:pt x="45" y="50"/>
                  <a:pt x="45" y="54"/>
                </a:cubicBezTo>
                <a:cubicBezTo>
                  <a:pt x="45" y="57"/>
                  <a:pt x="45" y="60"/>
                  <a:pt x="44" y="63"/>
                </a:cubicBezTo>
                <a:cubicBezTo>
                  <a:pt x="42" y="65"/>
                  <a:pt x="41" y="67"/>
                  <a:pt x="38" y="69"/>
                </a:cubicBezTo>
                <a:cubicBezTo>
                  <a:pt x="36" y="71"/>
                  <a:pt x="34" y="72"/>
                  <a:pt x="31" y="73"/>
                </a:cubicBezTo>
                <a:cubicBezTo>
                  <a:pt x="28" y="74"/>
                  <a:pt x="25" y="74"/>
                  <a:pt x="22" y="74"/>
                </a:cubicBezTo>
                <a:close/>
              </a:path>
            </a:pathLst>
          </a:custGeom>
          <a:solidFill>
            <a:srgbClr val="E9E9E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en-US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53" name="深度视觉·原创设计 https://www.docer.com/works?userid=22383862"/>
          <p:cNvSpPr>
            <a:spLocks noEditPoints="1"/>
          </p:cNvSpPr>
          <p:nvPr/>
        </p:nvSpPr>
        <p:spPr bwMode="auto">
          <a:xfrm>
            <a:off x="5798183" y="2788761"/>
            <a:ext cx="278581" cy="407157"/>
          </a:xfrm>
          <a:custGeom>
            <a:avLst/>
            <a:gdLst>
              <a:gd name="T0" fmla="*/ 28 w 54"/>
              <a:gd name="T1" fmla="*/ 79 h 79"/>
              <a:gd name="T2" fmla="*/ 18 w 54"/>
              <a:gd name="T3" fmla="*/ 78 h 79"/>
              <a:gd name="T4" fmla="*/ 9 w 54"/>
              <a:gd name="T5" fmla="*/ 75 h 79"/>
              <a:gd name="T6" fmla="*/ 3 w 54"/>
              <a:gd name="T7" fmla="*/ 68 h 79"/>
              <a:gd name="T8" fmla="*/ 0 w 54"/>
              <a:gd name="T9" fmla="*/ 56 h 79"/>
              <a:gd name="T10" fmla="*/ 0 w 54"/>
              <a:gd name="T11" fmla="*/ 27 h 79"/>
              <a:gd name="T12" fmla="*/ 2 w 54"/>
              <a:gd name="T13" fmla="*/ 14 h 79"/>
              <a:gd name="T14" fmla="*/ 8 w 54"/>
              <a:gd name="T15" fmla="*/ 6 h 79"/>
              <a:gd name="T16" fmla="*/ 17 w 54"/>
              <a:gd name="T17" fmla="*/ 2 h 79"/>
              <a:gd name="T18" fmla="*/ 28 w 54"/>
              <a:gd name="T19" fmla="*/ 0 h 79"/>
              <a:gd name="T20" fmla="*/ 38 w 54"/>
              <a:gd name="T21" fmla="*/ 2 h 79"/>
              <a:gd name="T22" fmla="*/ 46 w 54"/>
              <a:gd name="T23" fmla="*/ 5 h 79"/>
              <a:gd name="T24" fmla="*/ 52 w 54"/>
              <a:gd name="T25" fmla="*/ 13 h 79"/>
              <a:gd name="T26" fmla="*/ 54 w 54"/>
              <a:gd name="T27" fmla="*/ 26 h 79"/>
              <a:gd name="T28" fmla="*/ 54 w 54"/>
              <a:gd name="T29" fmla="*/ 53 h 79"/>
              <a:gd name="T30" fmla="*/ 52 w 54"/>
              <a:gd name="T31" fmla="*/ 67 h 79"/>
              <a:gd name="T32" fmla="*/ 46 w 54"/>
              <a:gd name="T33" fmla="*/ 75 h 79"/>
              <a:gd name="T34" fmla="*/ 38 w 54"/>
              <a:gd name="T35" fmla="*/ 78 h 79"/>
              <a:gd name="T36" fmla="*/ 28 w 54"/>
              <a:gd name="T37" fmla="*/ 79 h 79"/>
              <a:gd name="T38" fmla="*/ 40 w 54"/>
              <a:gd name="T39" fmla="*/ 28 h 79"/>
              <a:gd name="T40" fmla="*/ 38 w 54"/>
              <a:gd name="T41" fmla="*/ 17 h 79"/>
              <a:gd name="T42" fmla="*/ 28 w 54"/>
              <a:gd name="T43" fmla="*/ 13 h 79"/>
              <a:gd name="T44" fmla="*/ 21 w 54"/>
              <a:gd name="T45" fmla="*/ 14 h 79"/>
              <a:gd name="T46" fmla="*/ 17 w 54"/>
              <a:gd name="T47" fmla="*/ 17 h 79"/>
              <a:gd name="T48" fmla="*/ 15 w 54"/>
              <a:gd name="T49" fmla="*/ 22 h 79"/>
              <a:gd name="T50" fmla="*/ 15 w 54"/>
              <a:gd name="T51" fmla="*/ 29 h 79"/>
              <a:gd name="T52" fmla="*/ 15 w 54"/>
              <a:gd name="T53" fmla="*/ 55 h 79"/>
              <a:gd name="T54" fmla="*/ 19 w 54"/>
              <a:gd name="T55" fmla="*/ 64 h 79"/>
              <a:gd name="T56" fmla="*/ 28 w 54"/>
              <a:gd name="T57" fmla="*/ 67 h 79"/>
              <a:gd name="T58" fmla="*/ 33 w 54"/>
              <a:gd name="T59" fmla="*/ 66 h 79"/>
              <a:gd name="T60" fmla="*/ 37 w 54"/>
              <a:gd name="T61" fmla="*/ 64 h 79"/>
              <a:gd name="T62" fmla="*/ 39 w 54"/>
              <a:gd name="T63" fmla="*/ 60 h 79"/>
              <a:gd name="T64" fmla="*/ 40 w 54"/>
              <a:gd name="T65" fmla="*/ 53 h 79"/>
              <a:gd name="T66" fmla="*/ 40 w 54"/>
              <a:gd name="T67" fmla="*/ 28 h 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54" h="79">
                <a:moveTo>
                  <a:pt x="28" y="79"/>
                </a:moveTo>
                <a:cubicBezTo>
                  <a:pt x="25" y="79"/>
                  <a:pt x="21" y="79"/>
                  <a:pt x="18" y="78"/>
                </a:cubicBezTo>
                <a:cubicBezTo>
                  <a:pt x="15" y="78"/>
                  <a:pt x="12" y="77"/>
                  <a:pt x="9" y="75"/>
                </a:cubicBezTo>
                <a:cubicBezTo>
                  <a:pt x="7" y="73"/>
                  <a:pt x="5" y="71"/>
                  <a:pt x="3" y="68"/>
                </a:cubicBezTo>
                <a:cubicBezTo>
                  <a:pt x="1" y="64"/>
                  <a:pt x="0" y="60"/>
                  <a:pt x="0" y="56"/>
                </a:cubicBezTo>
                <a:cubicBezTo>
                  <a:pt x="0" y="27"/>
                  <a:pt x="0" y="27"/>
                  <a:pt x="0" y="27"/>
                </a:cubicBezTo>
                <a:cubicBezTo>
                  <a:pt x="0" y="22"/>
                  <a:pt x="1" y="17"/>
                  <a:pt x="2" y="14"/>
                </a:cubicBezTo>
                <a:cubicBezTo>
                  <a:pt x="4" y="10"/>
                  <a:pt x="6" y="8"/>
                  <a:pt x="8" y="6"/>
                </a:cubicBezTo>
                <a:cubicBezTo>
                  <a:pt x="10" y="4"/>
                  <a:pt x="13" y="2"/>
                  <a:pt x="17" y="2"/>
                </a:cubicBezTo>
                <a:cubicBezTo>
                  <a:pt x="20" y="1"/>
                  <a:pt x="24" y="0"/>
                  <a:pt x="28" y="0"/>
                </a:cubicBezTo>
                <a:cubicBezTo>
                  <a:pt x="32" y="0"/>
                  <a:pt x="35" y="1"/>
                  <a:pt x="38" y="2"/>
                </a:cubicBezTo>
                <a:cubicBezTo>
                  <a:pt x="41" y="2"/>
                  <a:pt x="44" y="3"/>
                  <a:pt x="46" y="5"/>
                </a:cubicBezTo>
                <a:cubicBezTo>
                  <a:pt x="49" y="7"/>
                  <a:pt x="51" y="10"/>
                  <a:pt x="52" y="13"/>
                </a:cubicBezTo>
                <a:cubicBezTo>
                  <a:pt x="54" y="16"/>
                  <a:pt x="54" y="20"/>
                  <a:pt x="54" y="26"/>
                </a:cubicBezTo>
                <a:cubicBezTo>
                  <a:pt x="54" y="53"/>
                  <a:pt x="54" y="53"/>
                  <a:pt x="54" y="53"/>
                </a:cubicBezTo>
                <a:cubicBezTo>
                  <a:pt x="54" y="59"/>
                  <a:pt x="54" y="63"/>
                  <a:pt x="52" y="67"/>
                </a:cubicBezTo>
                <a:cubicBezTo>
                  <a:pt x="51" y="70"/>
                  <a:pt x="49" y="73"/>
                  <a:pt x="46" y="75"/>
                </a:cubicBezTo>
                <a:cubicBezTo>
                  <a:pt x="44" y="77"/>
                  <a:pt x="41" y="78"/>
                  <a:pt x="38" y="78"/>
                </a:cubicBezTo>
                <a:cubicBezTo>
                  <a:pt x="35" y="79"/>
                  <a:pt x="32" y="79"/>
                  <a:pt x="28" y="79"/>
                </a:cubicBezTo>
                <a:close/>
                <a:moveTo>
                  <a:pt x="40" y="28"/>
                </a:moveTo>
                <a:cubicBezTo>
                  <a:pt x="40" y="23"/>
                  <a:pt x="39" y="19"/>
                  <a:pt x="38" y="17"/>
                </a:cubicBezTo>
                <a:cubicBezTo>
                  <a:pt x="36" y="14"/>
                  <a:pt x="33" y="13"/>
                  <a:pt x="28" y="13"/>
                </a:cubicBezTo>
                <a:cubicBezTo>
                  <a:pt x="25" y="13"/>
                  <a:pt x="23" y="13"/>
                  <a:pt x="21" y="14"/>
                </a:cubicBezTo>
                <a:cubicBezTo>
                  <a:pt x="20" y="15"/>
                  <a:pt x="18" y="16"/>
                  <a:pt x="17" y="17"/>
                </a:cubicBezTo>
                <a:cubicBezTo>
                  <a:pt x="16" y="18"/>
                  <a:pt x="16" y="20"/>
                  <a:pt x="15" y="22"/>
                </a:cubicBezTo>
                <a:cubicBezTo>
                  <a:pt x="15" y="24"/>
                  <a:pt x="15" y="26"/>
                  <a:pt x="15" y="29"/>
                </a:cubicBezTo>
                <a:cubicBezTo>
                  <a:pt x="15" y="55"/>
                  <a:pt x="15" y="55"/>
                  <a:pt x="15" y="55"/>
                </a:cubicBezTo>
                <a:cubicBezTo>
                  <a:pt x="15" y="59"/>
                  <a:pt x="16" y="62"/>
                  <a:pt x="19" y="64"/>
                </a:cubicBezTo>
                <a:cubicBezTo>
                  <a:pt x="21" y="66"/>
                  <a:pt x="24" y="67"/>
                  <a:pt x="28" y="67"/>
                </a:cubicBezTo>
                <a:cubicBezTo>
                  <a:pt x="30" y="67"/>
                  <a:pt x="32" y="67"/>
                  <a:pt x="33" y="66"/>
                </a:cubicBezTo>
                <a:cubicBezTo>
                  <a:pt x="35" y="66"/>
                  <a:pt x="36" y="65"/>
                  <a:pt x="37" y="64"/>
                </a:cubicBezTo>
                <a:cubicBezTo>
                  <a:pt x="38" y="63"/>
                  <a:pt x="39" y="62"/>
                  <a:pt x="39" y="60"/>
                </a:cubicBezTo>
                <a:cubicBezTo>
                  <a:pt x="40" y="58"/>
                  <a:pt x="40" y="56"/>
                  <a:pt x="40" y="53"/>
                </a:cubicBezTo>
                <a:lnTo>
                  <a:pt x="40" y="28"/>
                </a:lnTo>
                <a:close/>
              </a:path>
            </a:pathLst>
          </a:custGeom>
          <a:solidFill>
            <a:srgbClr val="E9E9E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en-US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54" name="深度视觉·原创设计 https://www.docer.com/works?userid=22383862"/>
          <p:cNvSpPr/>
          <p:nvPr/>
        </p:nvSpPr>
        <p:spPr bwMode="auto">
          <a:xfrm>
            <a:off x="6138532" y="2793804"/>
            <a:ext cx="273539" cy="397073"/>
          </a:xfrm>
          <a:custGeom>
            <a:avLst/>
            <a:gdLst>
              <a:gd name="T0" fmla="*/ 3 w 53"/>
              <a:gd name="T1" fmla="*/ 77 h 77"/>
              <a:gd name="T2" fmla="*/ 1 w 53"/>
              <a:gd name="T3" fmla="*/ 77 h 77"/>
              <a:gd name="T4" fmla="*/ 0 w 53"/>
              <a:gd name="T5" fmla="*/ 74 h 77"/>
              <a:gd name="T6" fmla="*/ 0 w 53"/>
              <a:gd name="T7" fmla="*/ 69 h 77"/>
              <a:gd name="T8" fmla="*/ 2 w 53"/>
              <a:gd name="T9" fmla="*/ 58 h 77"/>
              <a:gd name="T10" fmla="*/ 7 w 53"/>
              <a:gd name="T11" fmla="*/ 49 h 77"/>
              <a:gd name="T12" fmla="*/ 14 w 53"/>
              <a:gd name="T13" fmla="*/ 41 h 77"/>
              <a:gd name="T14" fmla="*/ 21 w 53"/>
              <a:gd name="T15" fmla="*/ 36 h 77"/>
              <a:gd name="T16" fmla="*/ 27 w 53"/>
              <a:gd name="T17" fmla="*/ 33 h 77"/>
              <a:gd name="T18" fmla="*/ 32 w 53"/>
              <a:gd name="T19" fmla="*/ 29 h 77"/>
              <a:gd name="T20" fmla="*/ 36 w 53"/>
              <a:gd name="T21" fmla="*/ 25 h 77"/>
              <a:gd name="T22" fmla="*/ 37 w 53"/>
              <a:gd name="T23" fmla="*/ 21 h 77"/>
              <a:gd name="T24" fmla="*/ 25 w 53"/>
              <a:gd name="T25" fmla="*/ 12 h 77"/>
              <a:gd name="T26" fmla="*/ 15 w 53"/>
              <a:gd name="T27" fmla="*/ 14 h 77"/>
              <a:gd name="T28" fmla="*/ 8 w 53"/>
              <a:gd name="T29" fmla="*/ 17 h 77"/>
              <a:gd name="T30" fmla="*/ 6 w 53"/>
              <a:gd name="T31" fmla="*/ 16 h 77"/>
              <a:gd name="T32" fmla="*/ 5 w 53"/>
              <a:gd name="T33" fmla="*/ 12 h 77"/>
              <a:gd name="T34" fmla="*/ 4 w 53"/>
              <a:gd name="T35" fmla="*/ 8 h 77"/>
              <a:gd name="T36" fmla="*/ 4 w 53"/>
              <a:gd name="T37" fmla="*/ 5 h 77"/>
              <a:gd name="T38" fmla="*/ 7 w 53"/>
              <a:gd name="T39" fmla="*/ 4 h 77"/>
              <a:gd name="T40" fmla="*/ 12 w 53"/>
              <a:gd name="T41" fmla="*/ 2 h 77"/>
              <a:gd name="T42" fmla="*/ 18 w 53"/>
              <a:gd name="T43" fmla="*/ 1 h 77"/>
              <a:gd name="T44" fmla="*/ 27 w 53"/>
              <a:gd name="T45" fmla="*/ 0 h 77"/>
              <a:gd name="T46" fmla="*/ 46 w 53"/>
              <a:gd name="T47" fmla="*/ 5 h 77"/>
              <a:gd name="T48" fmla="*/ 53 w 53"/>
              <a:gd name="T49" fmla="*/ 20 h 77"/>
              <a:gd name="T50" fmla="*/ 50 w 53"/>
              <a:gd name="T51" fmla="*/ 28 h 77"/>
              <a:gd name="T52" fmla="*/ 45 w 53"/>
              <a:gd name="T53" fmla="*/ 36 h 77"/>
              <a:gd name="T54" fmla="*/ 37 w 53"/>
              <a:gd name="T55" fmla="*/ 41 h 77"/>
              <a:gd name="T56" fmla="*/ 29 w 53"/>
              <a:gd name="T57" fmla="*/ 46 h 77"/>
              <a:gd name="T58" fmla="*/ 20 w 53"/>
              <a:gd name="T59" fmla="*/ 53 h 77"/>
              <a:gd name="T60" fmla="*/ 16 w 53"/>
              <a:gd name="T61" fmla="*/ 64 h 77"/>
              <a:gd name="T62" fmla="*/ 18 w 53"/>
              <a:gd name="T63" fmla="*/ 65 h 77"/>
              <a:gd name="T64" fmla="*/ 48 w 53"/>
              <a:gd name="T65" fmla="*/ 65 h 77"/>
              <a:gd name="T66" fmla="*/ 51 w 53"/>
              <a:gd name="T67" fmla="*/ 65 h 77"/>
              <a:gd name="T68" fmla="*/ 53 w 53"/>
              <a:gd name="T69" fmla="*/ 68 h 77"/>
              <a:gd name="T70" fmla="*/ 53 w 53"/>
              <a:gd name="T71" fmla="*/ 74 h 77"/>
              <a:gd name="T72" fmla="*/ 52 w 53"/>
              <a:gd name="T73" fmla="*/ 77 h 77"/>
              <a:gd name="T74" fmla="*/ 49 w 53"/>
              <a:gd name="T75" fmla="*/ 77 h 77"/>
              <a:gd name="T76" fmla="*/ 3 w 53"/>
              <a:gd name="T77" fmla="*/ 77 h 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53" h="77">
                <a:moveTo>
                  <a:pt x="3" y="77"/>
                </a:moveTo>
                <a:cubicBezTo>
                  <a:pt x="2" y="77"/>
                  <a:pt x="2" y="77"/>
                  <a:pt x="1" y="77"/>
                </a:cubicBezTo>
                <a:cubicBezTo>
                  <a:pt x="0" y="76"/>
                  <a:pt x="0" y="75"/>
                  <a:pt x="0" y="74"/>
                </a:cubicBezTo>
                <a:cubicBezTo>
                  <a:pt x="0" y="69"/>
                  <a:pt x="0" y="69"/>
                  <a:pt x="0" y="69"/>
                </a:cubicBezTo>
                <a:cubicBezTo>
                  <a:pt x="0" y="65"/>
                  <a:pt x="0" y="61"/>
                  <a:pt x="2" y="58"/>
                </a:cubicBezTo>
                <a:cubicBezTo>
                  <a:pt x="3" y="54"/>
                  <a:pt x="5" y="51"/>
                  <a:pt x="7" y="49"/>
                </a:cubicBezTo>
                <a:cubicBezTo>
                  <a:pt x="9" y="46"/>
                  <a:pt x="11" y="43"/>
                  <a:pt x="14" y="41"/>
                </a:cubicBezTo>
                <a:cubicBezTo>
                  <a:pt x="16" y="39"/>
                  <a:pt x="19" y="38"/>
                  <a:pt x="21" y="36"/>
                </a:cubicBezTo>
                <a:cubicBezTo>
                  <a:pt x="23" y="35"/>
                  <a:pt x="25" y="34"/>
                  <a:pt x="27" y="33"/>
                </a:cubicBezTo>
                <a:cubicBezTo>
                  <a:pt x="29" y="32"/>
                  <a:pt x="31" y="30"/>
                  <a:pt x="32" y="29"/>
                </a:cubicBezTo>
                <a:cubicBezTo>
                  <a:pt x="34" y="28"/>
                  <a:pt x="35" y="26"/>
                  <a:pt x="36" y="25"/>
                </a:cubicBezTo>
                <a:cubicBezTo>
                  <a:pt x="37" y="24"/>
                  <a:pt x="37" y="22"/>
                  <a:pt x="37" y="21"/>
                </a:cubicBezTo>
                <a:cubicBezTo>
                  <a:pt x="37" y="15"/>
                  <a:pt x="33" y="12"/>
                  <a:pt x="25" y="12"/>
                </a:cubicBezTo>
                <a:cubicBezTo>
                  <a:pt x="21" y="12"/>
                  <a:pt x="18" y="13"/>
                  <a:pt x="15" y="14"/>
                </a:cubicBezTo>
                <a:cubicBezTo>
                  <a:pt x="12" y="15"/>
                  <a:pt x="10" y="16"/>
                  <a:pt x="8" y="17"/>
                </a:cubicBezTo>
                <a:cubicBezTo>
                  <a:pt x="8" y="17"/>
                  <a:pt x="7" y="17"/>
                  <a:pt x="6" y="16"/>
                </a:cubicBezTo>
                <a:cubicBezTo>
                  <a:pt x="6" y="14"/>
                  <a:pt x="5" y="13"/>
                  <a:pt x="5" y="12"/>
                </a:cubicBezTo>
                <a:cubicBezTo>
                  <a:pt x="4" y="10"/>
                  <a:pt x="4" y="9"/>
                  <a:pt x="4" y="8"/>
                </a:cubicBezTo>
                <a:cubicBezTo>
                  <a:pt x="3" y="6"/>
                  <a:pt x="3" y="6"/>
                  <a:pt x="4" y="5"/>
                </a:cubicBezTo>
                <a:cubicBezTo>
                  <a:pt x="5" y="5"/>
                  <a:pt x="6" y="4"/>
                  <a:pt x="7" y="4"/>
                </a:cubicBezTo>
                <a:cubicBezTo>
                  <a:pt x="8" y="3"/>
                  <a:pt x="10" y="2"/>
                  <a:pt x="12" y="2"/>
                </a:cubicBezTo>
                <a:cubicBezTo>
                  <a:pt x="13" y="1"/>
                  <a:pt x="16" y="1"/>
                  <a:pt x="18" y="1"/>
                </a:cubicBezTo>
                <a:cubicBezTo>
                  <a:pt x="21" y="0"/>
                  <a:pt x="24" y="0"/>
                  <a:pt x="27" y="0"/>
                </a:cubicBezTo>
                <a:cubicBezTo>
                  <a:pt x="35" y="0"/>
                  <a:pt x="41" y="2"/>
                  <a:pt x="46" y="5"/>
                </a:cubicBezTo>
                <a:cubicBezTo>
                  <a:pt x="50" y="8"/>
                  <a:pt x="53" y="13"/>
                  <a:pt x="53" y="20"/>
                </a:cubicBezTo>
                <a:cubicBezTo>
                  <a:pt x="53" y="23"/>
                  <a:pt x="52" y="26"/>
                  <a:pt x="50" y="28"/>
                </a:cubicBezTo>
                <a:cubicBezTo>
                  <a:pt x="49" y="31"/>
                  <a:pt x="47" y="33"/>
                  <a:pt x="45" y="36"/>
                </a:cubicBezTo>
                <a:cubicBezTo>
                  <a:pt x="43" y="38"/>
                  <a:pt x="40" y="40"/>
                  <a:pt x="37" y="41"/>
                </a:cubicBezTo>
                <a:cubicBezTo>
                  <a:pt x="35" y="43"/>
                  <a:pt x="32" y="45"/>
                  <a:pt x="29" y="46"/>
                </a:cubicBezTo>
                <a:cubicBezTo>
                  <a:pt x="26" y="48"/>
                  <a:pt x="23" y="50"/>
                  <a:pt x="20" y="53"/>
                </a:cubicBezTo>
                <a:cubicBezTo>
                  <a:pt x="18" y="56"/>
                  <a:pt x="16" y="60"/>
                  <a:pt x="16" y="64"/>
                </a:cubicBezTo>
                <a:cubicBezTo>
                  <a:pt x="16" y="64"/>
                  <a:pt x="17" y="65"/>
                  <a:pt x="18" y="65"/>
                </a:cubicBezTo>
                <a:cubicBezTo>
                  <a:pt x="48" y="65"/>
                  <a:pt x="48" y="65"/>
                  <a:pt x="48" y="65"/>
                </a:cubicBezTo>
                <a:cubicBezTo>
                  <a:pt x="49" y="65"/>
                  <a:pt x="51" y="65"/>
                  <a:pt x="51" y="65"/>
                </a:cubicBezTo>
                <a:cubicBezTo>
                  <a:pt x="52" y="66"/>
                  <a:pt x="53" y="66"/>
                  <a:pt x="53" y="68"/>
                </a:cubicBezTo>
                <a:cubicBezTo>
                  <a:pt x="53" y="74"/>
                  <a:pt x="53" y="74"/>
                  <a:pt x="53" y="74"/>
                </a:cubicBezTo>
                <a:cubicBezTo>
                  <a:pt x="53" y="76"/>
                  <a:pt x="52" y="76"/>
                  <a:pt x="52" y="77"/>
                </a:cubicBezTo>
                <a:cubicBezTo>
                  <a:pt x="51" y="77"/>
                  <a:pt x="50" y="77"/>
                  <a:pt x="49" y="77"/>
                </a:cubicBezTo>
                <a:lnTo>
                  <a:pt x="3" y="77"/>
                </a:lnTo>
                <a:close/>
              </a:path>
            </a:pathLst>
          </a:custGeom>
          <a:solidFill>
            <a:srgbClr val="E9E9E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en-US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55" name="深度视觉·原创设计 https://www.docer.com/works?userid=22383862"/>
          <p:cNvSpPr>
            <a:spLocks noEditPoints="1"/>
          </p:cNvSpPr>
          <p:nvPr/>
        </p:nvSpPr>
        <p:spPr bwMode="auto">
          <a:xfrm>
            <a:off x="5891463" y="1994616"/>
            <a:ext cx="247067" cy="361777"/>
          </a:xfrm>
          <a:custGeom>
            <a:avLst/>
            <a:gdLst>
              <a:gd name="T0" fmla="*/ 25 w 48"/>
              <a:gd name="T1" fmla="*/ 70 h 70"/>
              <a:gd name="T2" fmla="*/ 16 w 48"/>
              <a:gd name="T3" fmla="*/ 70 h 70"/>
              <a:gd name="T4" fmla="*/ 8 w 48"/>
              <a:gd name="T5" fmla="*/ 66 h 70"/>
              <a:gd name="T6" fmla="*/ 2 w 48"/>
              <a:gd name="T7" fmla="*/ 60 h 70"/>
              <a:gd name="T8" fmla="*/ 0 w 48"/>
              <a:gd name="T9" fmla="*/ 49 h 70"/>
              <a:gd name="T10" fmla="*/ 0 w 48"/>
              <a:gd name="T11" fmla="*/ 23 h 70"/>
              <a:gd name="T12" fmla="*/ 2 w 48"/>
              <a:gd name="T13" fmla="*/ 12 h 70"/>
              <a:gd name="T14" fmla="*/ 7 w 48"/>
              <a:gd name="T15" fmla="*/ 5 h 70"/>
              <a:gd name="T16" fmla="*/ 15 w 48"/>
              <a:gd name="T17" fmla="*/ 1 h 70"/>
              <a:gd name="T18" fmla="*/ 25 w 48"/>
              <a:gd name="T19" fmla="*/ 0 h 70"/>
              <a:gd name="T20" fmla="*/ 34 w 48"/>
              <a:gd name="T21" fmla="*/ 1 h 70"/>
              <a:gd name="T22" fmla="*/ 41 w 48"/>
              <a:gd name="T23" fmla="*/ 4 h 70"/>
              <a:gd name="T24" fmla="*/ 46 w 48"/>
              <a:gd name="T25" fmla="*/ 11 h 70"/>
              <a:gd name="T26" fmla="*/ 48 w 48"/>
              <a:gd name="T27" fmla="*/ 22 h 70"/>
              <a:gd name="T28" fmla="*/ 48 w 48"/>
              <a:gd name="T29" fmla="*/ 47 h 70"/>
              <a:gd name="T30" fmla="*/ 46 w 48"/>
              <a:gd name="T31" fmla="*/ 59 h 70"/>
              <a:gd name="T32" fmla="*/ 41 w 48"/>
              <a:gd name="T33" fmla="*/ 66 h 70"/>
              <a:gd name="T34" fmla="*/ 33 w 48"/>
              <a:gd name="T35" fmla="*/ 70 h 70"/>
              <a:gd name="T36" fmla="*/ 25 w 48"/>
              <a:gd name="T37" fmla="*/ 70 h 70"/>
              <a:gd name="T38" fmla="*/ 35 w 48"/>
              <a:gd name="T39" fmla="*/ 25 h 70"/>
              <a:gd name="T40" fmla="*/ 33 w 48"/>
              <a:gd name="T41" fmla="*/ 14 h 70"/>
              <a:gd name="T42" fmla="*/ 25 w 48"/>
              <a:gd name="T43" fmla="*/ 11 h 70"/>
              <a:gd name="T44" fmla="*/ 19 w 48"/>
              <a:gd name="T45" fmla="*/ 12 h 70"/>
              <a:gd name="T46" fmla="*/ 15 w 48"/>
              <a:gd name="T47" fmla="*/ 15 h 70"/>
              <a:gd name="T48" fmla="*/ 13 w 48"/>
              <a:gd name="T49" fmla="*/ 19 h 70"/>
              <a:gd name="T50" fmla="*/ 13 w 48"/>
              <a:gd name="T51" fmla="*/ 25 h 70"/>
              <a:gd name="T52" fmla="*/ 13 w 48"/>
              <a:gd name="T53" fmla="*/ 49 h 70"/>
              <a:gd name="T54" fmla="*/ 16 w 48"/>
              <a:gd name="T55" fmla="*/ 57 h 70"/>
              <a:gd name="T56" fmla="*/ 24 w 48"/>
              <a:gd name="T57" fmla="*/ 59 h 70"/>
              <a:gd name="T58" fmla="*/ 29 w 48"/>
              <a:gd name="T59" fmla="*/ 59 h 70"/>
              <a:gd name="T60" fmla="*/ 33 w 48"/>
              <a:gd name="T61" fmla="*/ 57 h 70"/>
              <a:gd name="T62" fmla="*/ 35 w 48"/>
              <a:gd name="T63" fmla="*/ 53 h 70"/>
              <a:gd name="T64" fmla="*/ 35 w 48"/>
              <a:gd name="T65" fmla="*/ 47 h 70"/>
              <a:gd name="T66" fmla="*/ 35 w 48"/>
              <a:gd name="T67" fmla="*/ 25 h 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48" h="70">
                <a:moveTo>
                  <a:pt x="25" y="70"/>
                </a:moveTo>
                <a:cubicBezTo>
                  <a:pt x="22" y="70"/>
                  <a:pt x="19" y="70"/>
                  <a:pt x="16" y="70"/>
                </a:cubicBezTo>
                <a:cubicBezTo>
                  <a:pt x="13" y="69"/>
                  <a:pt x="10" y="68"/>
                  <a:pt x="8" y="66"/>
                </a:cubicBezTo>
                <a:cubicBezTo>
                  <a:pt x="5" y="65"/>
                  <a:pt x="3" y="63"/>
                  <a:pt x="2" y="60"/>
                </a:cubicBezTo>
                <a:cubicBezTo>
                  <a:pt x="1" y="57"/>
                  <a:pt x="0" y="54"/>
                  <a:pt x="0" y="49"/>
                </a:cubicBezTo>
                <a:cubicBezTo>
                  <a:pt x="0" y="23"/>
                  <a:pt x="0" y="23"/>
                  <a:pt x="0" y="23"/>
                </a:cubicBezTo>
                <a:cubicBezTo>
                  <a:pt x="0" y="19"/>
                  <a:pt x="0" y="15"/>
                  <a:pt x="2" y="12"/>
                </a:cubicBezTo>
                <a:cubicBezTo>
                  <a:pt x="3" y="9"/>
                  <a:pt x="4" y="6"/>
                  <a:pt x="7" y="5"/>
                </a:cubicBezTo>
                <a:cubicBezTo>
                  <a:pt x="9" y="3"/>
                  <a:pt x="11" y="2"/>
                  <a:pt x="15" y="1"/>
                </a:cubicBezTo>
                <a:cubicBezTo>
                  <a:pt x="18" y="0"/>
                  <a:pt x="21" y="0"/>
                  <a:pt x="25" y="0"/>
                </a:cubicBezTo>
                <a:cubicBezTo>
                  <a:pt x="28" y="0"/>
                  <a:pt x="31" y="0"/>
                  <a:pt x="34" y="1"/>
                </a:cubicBezTo>
                <a:cubicBezTo>
                  <a:pt x="36" y="1"/>
                  <a:pt x="39" y="3"/>
                  <a:pt x="41" y="4"/>
                </a:cubicBezTo>
                <a:cubicBezTo>
                  <a:pt x="43" y="6"/>
                  <a:pt x="45" y="8"/>
                  <a:pt x="46" y="11"/>
                </a:cubicBezTo>
                <a:cubicBezTo>
                  <a:pt x="47" y="14"/>
                  <a:pt x="48" y="18"/>
                  <a:pt x="48" y="22"/>
                </a:cubicBezTo>
                <a:cubicBezTo>
                  <a:pt x="48" y="47"/>
                  <a:pt x="48" y="47"/>
                  <a:pt x="48" y="47"/>
                </a:cubicBezTo>
                <a:cubicBezTo>
                  <a:pt x="48" y="52"/>
                  <a:pt x="47" y="56"/>
                  <a:pt x="46" y="59"/>
                </a:cubicBezTo>
                <a:cubicBezTo>
                  <a:pt x="45" y="62"/>
                  <a:pt x="43" y="65"/>
                  <a:pt x="41" y="66"/>
                </a:cubicBezTo>
                <a:cubicBezTo>
                  <a:pt x="39" y="68"/>
                  <a:pt x="36" y="69"/>
                  <a:pt x="33" y="70"/>
                </a:cubicBezTo>
                <a:cubicBezTo>
                  <a:pt x="31" y="70"/>
                  <a:pt x="28" y="70"/>
                  <a:pt x="25" y="70"/>
                </a:cubicBezTo>
                <a:close/>
                <a:moveTo>
                  <a:pt x="35" y="25"/>
                </a:moveTo>
                <a:cubicBezTo>
                  <a:pt x="35" y="20"/>
                  <a:pt x="35" y="16"/>
                  <a:pt x="33" y="14"/>
                </a:cubicBezTo>
                <a:cubicBezTo>
                  <a:pt x="32" y="12"/>
                  <a:pt x="29" y="11"/>
                  <a:pt x="25" y="11"/>
                </a:cubicBezTo>
                <a:cubicBezTo>
                  <a:pt x="22" y="11"/>
                  <a:pt x="20" y="12"/>
                  <a:pt x="19" y="12"/>
                </a:cubicBezTo>
                <a:cubicBezTo>
                  <a:pt x="17" y="13"/>
                  <a:pt x="16" y="13"/>
                  <a:pt x="15" y="15"/>
                </a:cubicBezTo>
                <a:cubicBezTo>
                  <a:pt x="14" y="16"/>
                  <a:pt x="13" y="17"/>
                  <a:pt x="13" y="19"/>
                </a:cubicBezTo>
                <a:cubicBezTo>
                  <a:pt x="13" y="21"/>
                  <a:pt x="13" y="23"/>
                  <a:pt x="13" y="25"/>
                </a:cubicBezTo>
                <a:cubicBezTo>
                  <a:pt x="13" y="49"/>
                  <a:pt x="13" y="49"/>
                  <a:pt x="13" y="49"/>
                </a:cubicBezTo>
                <a:cubicBezTo>
                  <a:pt x="13" y="52"/>
                  <a:pt x="14" y="55"/>
                  <a:pt x="16" y="57"/>
                </a:cubicBezTo>
                <a:cubicBezTo>
                  <a:pt x="18" y="58"/>
                  <a:pt x="21" y="59"/>
                  <a:pt x="24" y="59"/>
                </a:cubicBezTo>
                <a:cubicBezTo>
                  <a:pt x="26" y="59"/>
                  <a:pt x="28" y="59"/>
                  <a:pt x="29" y="59"/>
                </a:cubicBezTo>
                <a:cubicBezTo>
                  <a:pt x="30" y="58"/>
                  <a:pt x="32" y="58"/>
                  <a:pt x="33" y="57"/>
                </a:cubicBezTo>
                <a:cubicBezTo>
                  <a:pt x="34" y="56"/>
                  <a:pt x="34" y="55"/>
                  <a:pt x="35" y="53"/>
                </a:cubicBezTo>
                <a:cubicBezTo>
                  <a:pt x="35" y="52"/>
                  <a:pt x="35" y="50"/>
                  <a:pt x="35" y="47"/>
                </a:cubicBezTo>
                <a:lnTo>
                  <a:pt x="35" y="25"/>
                </a:lnTo>
                <a:close/>
              </a:path>
            </a:pathLst>
          </a:custGeom>
          <a:solidFill>
            <a:srgbClr val="E9E9E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en-US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56" name="深度视觉·原创设计 https://www.docer.com/works?userid=22383862"/>
          <p:cNvSpPr/>
          <p:nvPr/>
        </p:nvSpPr>
        <p:spPr bwMode="auto">
          <a:xfrm>
            <a:off x="6200298" y="2000918"/>
            <a:ext cx="118492" cy="355474"/>
          </a:xfrm>
          <a:custGeom>
            <a:avLst/>
            <a:gdLst>
              <a:gd name="T0" fmla="*/ 14 w 23"/>
              <a:gd name="T1" fmla="*/ 69 h 69"/>
              <a:gd name="T2" fmla="*/ 11 w 23"/>
              <a:gd name="T3" fmla="*/ 68 h 69"/>
              <a:gd name="T4" fmla="*/ 10 w 23"/>
              <a:gd name="T5" fmla="*/ 64 h 69"/>
              <a:gd name="T6" fmla="*/ 10 w 23"/>
              <a:gd name="T7" fmla="*/ 15 h 69"/>
              <a:gd name="T8" fmla="*/ 10 w 23"/>
              <a:gd name="T9" fmla="*/ 14 h 69"/>
              <a:gd name="T10" fmla="*/ 3 w 23"/>
              <a:gd name="T11" fmla="*/ 14 h 69"/>
              <a:gd name="T12" fmla="*/ 1 w 23"/>
              <a:gd name="T13" fmla="*/ 14 h 69"/>
              <a:gd name="T14" fmla="*/ 0 w 23"/>
              <a:gd name="T15" fmla="*/ 13 h 69"/>
              <a:gd name="T16" fmla="*/ 0 w 23"/>
              <a:gd name="T17" fmla="*/ 12 h 69"/>
              <a:gd name="T18" fmla="*/ 0 w 23"/>
              <a:gd name="T19" fmla="*/ 8 h 69"/>
              <a:gd name="T20" fmla="*/ 0 w 23"/>
              <a:gd name="T21" fmla="*/ 5 h 69"/>
              <a:gd name="T22" fmla="*/ 4 w 23"/>
              <a:gd name="T23" fmla="*/ 4 h 69"/>
              <a:gd name="T24" fmla="*/ 11 w 23"/>
              <a:gd name="T25" fmla="*/ 1 h 69"/>
              <a:gd name="T26" fmla="*/ 13 w 23"/>
              <a:gd name="T27" fmla="*/ 1 h 69"/>
              <a:gd name="T28" fmla="*/ 14 w 23"/>
              <a:gd name="T29" fmla="*/ 0 h 69"/>
              <a:gd name="T30" fmla="*/ 20 w 23"/>
              <a:gd name="T31" fmla="*/ 0 h 69"/>
              <a:gd name="T32" fmla="*/ 23 w 23"/>
              <a:gd name="T33" fmla="*/ 1 h 69"/>
              <a:gd name="T34" fmla="*/ 23 w 23"/>
              <a:gd name="T35" fmla="*/ 5 h 69"/>
              <a:gd name="T36" fmla="*/ 23 w 23"/>
              <a:gd name="T37" fmla="*/ 65 h 69"/>
              <a:gd name="T38" fmla="*/ 23 w 23"/>
              <a:gd name="T39" fmla="*/ 68 h 69"/>
              <a:gd name="T40" fmla="*/ 20 w 23"/>
              <a:gd name="T41" fmla="*/ 69 h 69"/>
              <a:gd name="T42" fmla="*/ 14 w 23"/>
              <a:gd name="T43" fmla="*/ 69 h 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23" h="69">
                <a:moveTo>
                  <a:pt x="14" y="69"/>
                </a:moveTo>
                <a:cubicBezTo>
                  <a:pt x="12" y="69"/>
                  <a:pt x="11" y="68"/>
                  <a:pt x="11" y="68"/>
                </a:cubicBezTo>
                <a:cubicBezTo>
                  <a:pt x="10" y="67"/>
                  <a:pt x="10" y="66"/>
                  <a:pt x="10" y="64"/>
                </a:cubicBezTo>
                <a:cubicBezTo>
                  <a:pt x="10" y="15"/>
                  <a:pt x="10" y="15"/>
                  <a:pt x="10" y="15"/>
                </a:cubicBezTo>
                <a:cubicBezTo>
                  <a:pt x="10" y="15"/>
                  <a:pt x="10" y="14"/>
                  <a:pt x="10" y="14"/>
                </a:cubicBezTo>
                <a:cubicBezTo>
                  <a:pt x="3" y="14"/>
                  <a:pt x="3" y="14"/>
                  <a:pt x="3" y="14"/>
                </a:cubicBezTo>
                <a:cubicBezTo>
                  <a:pt x="2" y="14"/>
                  <a:pt x="2" y="14"/>
                  <a:pt x="1" y="14"/>
                </a:cubicBezTo>
                <a:cubicBezTo>
                  <a:pt x="1" y="14"/>
                  <a:pt x="0" y="13"/>
                  <a:pt x="0" y="13"/>
                </a:cubicBezTo>
                <a:cubicBezTo>
                  <a:pt x="0" y="13"/>
                  <a:pt x="0" y="12"/>
                  <a:pt x="0" y="12"/>
                </a:cubicBezTo>
                <a:cubicBezTo>
                  <a:pt x="0" y="8"/>
                  <a:pt x="0" y="8"/>
                  <a:pt x="0" y="8"/>
                </a:cubicBezTo>
                <a:cubicBezTo>
                  <a:pt x="0" y="6"/>
                  <a:pt x="0" y="6"/>
                  <a:pt x="0" y="5"/>
                </a:cubicBezTo>
                <a:cubicBezTo>
                  <a:pt x="1" y="4"/>
                  <a:pt x="2" y="4"/>
                  <a:pt x="4" y="4"/>
                </a:cubicBezTo>
                <a:cubicBezTo>
                  <a:pt x="11" y="1"/>
                  <a:pt x="11" y="1"/>
                  <a:pt x="11" y="1"/>
                </a:cubicBezTo>
                <a:cubicBezTo>
                  <a:pt x="11" y="1"/>
                  <a:pt x="12" y="1"/>
                  <a:pt x="13" y="1"/>
                </a:cubicBezTo>
                <a:cubicBezTo>
                  <a:pt x="13" y="0"/>
                  <a:pt x="14" y="0"/>
                  <a:pt x="14" y="0"/>
                </a:cubicBezTo>
                <a:cubicBezTo>
                  <a:pt x="20" y="0"/>
                  <a:pt x="20" y="0"/>
                  <a:pt x="20" y="0"/>
                </a:cubicBezTo>
                <a:cubicBezTo>
                  <a:pt x="22" y="0"/>
                  <a:pt x="22" y="1"/>
                  <a:pt x="23" y="1"/>
                </a:cubicBezTo>
                <a:cubicBezTo>
                  <a:pt x="23" y="2"/>
                  <a:pt x="23" y="3"/>
                  <a:pt x="23" y="5"/>
                </a:cubicBezTo>
                <a:cubicBezTo>
                  <a:pt x="23" y="65"/>
                  <a:pt x="23" y="65"/>
                  <a:pt x="23" y="65"/>
                </a:cubicBezTo>
                <a:cubicBezTo>
                  <a:pt x="23" y="66"/>
                  <a:pt x="23" y="67"/>
                  <a:pt x="23" y="68"/>
                </a:cubicBezTo>
                <a:cubicBezTo>
                  <a:pt x="22" y="68"/>
                  <a:pt x="21" y="69"/>
                  <a:pt x="20" y="69"/>
                </a:cubicBezTo>
                <a:lnTo>
                  <a:pt x="14" y="69"/>
                </a:lnTo>
                <a:close/>
              </a:path>
            </a:pathLst>
          </a:custGeom>
          <a:solidFill>
            <a:srgbClr val="E9E9E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en-US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57" name="深度视觉·原创设计 https://www.docer.com/works?userid=22383862"/>
          <p:cNvSpPr/>
          <p:nvPr/>
        </p:nvSpPr>
        <p:spPr bwMode="auto">
          <a:xfrm>
            <a:off x="5467919" y="5061530"/>
            <a:ext cx="1284499" cy="1181134"/>
          </a:xfrm>
          <a:custGeom>
            <a:avLst/>
            <a:gdLst>
              <a:gd name="T0" fmla="*/ 245 w 249"/>
              <a:gd name="T1" fmla="*/ 0 h 229"/>
              <a:gd name="T2" fmla="*/ 242 w 249"/>
              <a:gd name="T3" fmla="*/ 4 h 229"/>
              <a:gd name="T4" fmla="*/ 241 w 249"/>
              <a:gd name="T5" fmla="*/ 16 h 229"/>
              <a:gd name="T6" fmla="*/ 239 w 249"/>
              <a:gd name="T7" fmla="*/ 19 h 229"/>
              <a:gd name="T8" fmla="*/ 247 w 249"/>
              <a:gd name="T9" fmla="*/ 27 h 229"/>
              <a:gd name="T10" fmla="*/ 246 w 249"/>
              <a:gd name="T11" fmla="*/ 40 h 229"/>
              <a:gd name="T12" fmla="*/ 238 w 249"/>
              <a:gd name="T13" fmla="*/ 48 h 229"/>
              <a:gd name="T14" fmla="*/ 237 w 249"/>
              <a:gd name="T15" fmla="*/ 55 h 229"/>
              <a:gd name="T16" fmla="*/ 246 w 249"/>
              <a:gd name="T17" fmla="*/ 63 h 229"/>
              <a:gd name="T18" fmla="*/ 244 w 249"/>
              <a:gd name="T19" fmla="*/ 74 h 229"/>
              <a:gd name="T20" fmla="*/ 238 w 249"/>
              <a:gd name="T21" fmla="*/ 81 h 229"/>
              <a:gd name="T22" fmla="*/ 238 w 249"/>
              <a:gd name="T23" fmla="*/ 91 h 229"/>
              <a:gd name="T24" fmla="*/ 246 w 249"/>
              <a:gd name="T25" fmla="*/ 101 h 229"/>
              <a:gd name="T26" fmla="*/ 242 w 249"/>
              <a:gd name="T27" fmla="*/ 110 h 229"/>
              <a:gd name="T28" fmla="*/ 236 w 249"/>
              <a:gd name="T29" fmla="*/ 116 h 229"/>
              <a:gd name="T30" fmla="*/ 238 w 249"/>
              <a:gd name="T31" fmla="*/ 122 h 229"/>
              <a:gd name="T32" fmla="*/ 246 w 249"/>
              <a:gd name="T33" fmla="*/ 132 h 229"/>
              <a:gd name="T34" fmla="*/ 244 w 249"/>
              <a:gd name="T35" fmla="*/ 142 h 229"/>
              <a:gd name="T36" fmla="*/ 236 w 249"/>
              <a:gd name="T37" fmla="*/ 149 h 229"/>
              <a:gd name="T38" fmla="*/ 236 w 249"/>
              <a:gd name="T39" fmla="*/ 157 h 229"/>
              <a:gd name="T40" fmla="*/ 242 w 249"/>
              <a:gd name="T41" fmla="*/ 164 h 229"/>
              <a:gd name="T42" fmla="*/ 233 w 249"/>
              <a:gd name="T43" fmla="*/ 182 h 229"/>
              <a:gd name="T44" fmla="*/ 180 w 249"/>
              <a:gd name="T45" fmla="*/ 229 h 229"/>
              <a:gd name="T46" fmla="*/ 68 w 249"/>
              <a:gd name="T47" fmla="*/ 229 h 229"/>
              <a:gd name="T48" fmla="*/ 14 w 249"/>
              <a:gd name="T49" fmla="*/ 182 h 229"/>
              <a:gd name="T50" fmla="*/ 13 w 249"/>
              <a:gd name="T51" fmla="*/ 173 h 229"/>
              <a:gd name="T52" fmla="*/ 10 w 249"/>
              <a:gd name="T53" fmla="*/ 161 h 229"/>
              <a:gd name="T54" fmla="*/ 2 w 249"/>
              <a:gd name="T55" fmla="*/ 153 h 229"/>
              <a:gd name="T56" fmla="*/ 6 w 249"/>
              <a:gd name="T57" fmla="*/ 143 h 229"/>
              <a:gd name="T58" fmla="*/ 9 w 249"/>
              <a:gd name="T59" fmla="*/ 135 h 229"/>
              <a:gd name="T60" fmla="*/ 4 w 249"/>
              <a:gd name="T61" fmla="*/ 122 h 229"/>
              <a:gd name="T62" fmla="*/ 3 w 249"/>
              <a:gd name="T63" fmla="*/ 110 h 229"/>
              <a:gd name="T64" fmla="*/ 8 w 249"/>
              <a:gd name="T65" fmla="*/ 103 h 229"/>
              <a:gd name="T66" fmla="*/ 8 w 249"/>
              <a:gd name="T67" fmla="*/ 96 h 229"/>
              <a:gd name="T68" fmla="*/ 2 w 249"/>
              <a:gd name="T69" fmla="*/ 86 h 229"/>
              <a:gd name="T70" fmla="*/ 6 w 249"/>
              <a:gd name="T71" fmla="*/ 74 h 229"/>
              <a:gd name="T72" fmla="*/ 10 w 249"/>
              <a:gd name="T73" fmla="*/ 69 h 229"/>
              <a:gd name="T74" fmla="*/ 9 w 249"/>
              <a:gd name="T75" fmla="*/ 62 h 229"/>
              <a:gd name="T76" fmla="*/ 2 w 249"/>
              <a:gd name="T77" fmla="*/ 50 h 229"/>
              <a:gd name="T78" fmla="*/ 2 w 249"/>
              <a:gd name="T79" fmla="*/ 18 h 229"/>
              <a:gd name="T80" fmla="*/ 2 w 249"/>
              <a:gd name="T81" fmla="*/ 12 h 229"/>
              <a:gd name="T82" fmla="*/ 1 w 249"/>
              <a:gd name="T83" fmla="*/ 2 h 229"/>
              <a:gd name="T84" fmla="*/ 0 w 249"/>
              <a:gd name="T85" fmla="*/ 0 h 229"/>
              <a:gd name="T86" fmla="*/ 245 w 249"/>
              <a:gd name="T87" fmla="*/ 0 h 2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249" h="229">
                <a:moveTo>
                  <a:pt x="245" y="0"/>
                </a:moveTo>
                <a:cubicBezTo>
                  <a:pt x="242" y="4"/>
                  <a:pt x="242" y="4"/>
                  <a:pt x="242" y="4"/>
                </a:cubicBezTo>
                <a:cubicBezTo>
                  <a:pt x="241" y="16"/>
                  <a:pt x="241" y="16"/>
                  <a:pt x="241" y="16"/>
                </a:cubicBezTo>
                <a:cubicBezTo>
                  <a:pt x="239" y="19"/>
                  <a:pt x="239" y="19"/>
                  <a:pt x="239" y="19"/>
                </a:cubicBezTo>
                <a:cubicBezTo>
                  <a:pt x="239" y="19"/>
                  <a:pt x="245" y="23"/>
                  <a:pt x="247" y="27"/>
                </a:cubicBezTo>
                <a:cubicBezTo>
                  <a:pt x="249" y="31"/>
                  <a:pt x="249" y="37"/>
                  <a:pt x="246" y="40"/>
                </a:cubicBezTo>
                <a:cubicBezTo>
                  <a:pt x="242" y="43"/>
                  <a:pt x="238" y="45"/>
                  <a:pt x="238" y="48"/>
                </a:cubicBezTo>
                <a:cubicBezTo>
                  <a:pt x="238" y="50"/>
                  <a:pt x="237" y="55"/>
                  <a:pt x="237" y="55"/>
                </a:cubicBezTo>
                <a:cubicBezTo>
                  <a:pt x="237" y="55"/>
                  <a:pt x="245" y="58"/>
                  <a:pt x="246" y="63"/>
                </a:cubicBezTo>
                <a:cubicBezTo>
                  <a:pt x="248" y="68"/>
                  <a:pt x="247" y="72"/>
                  <a:pt x="244" y="74"/>
                </a:cubicBezTo>
                <a:cubicBezTo>
                  <a:pt x="241" y="77"/>
                  <a:pt x="238" y="81"/>
                  <a:pt x="238" y="81"/>
                </a:cubicBezTo>
                <a:cubicBezTo>
                  <a:pt x="238" y="91"/>
                  <a:pt x="238" y="91"/>
                  <a:pt x="238" y="91"/>
                </a:cubicBezTo>
                <a:cubicBezTo>
                  <a:pt x="238" y="91"/>
                  <a:pt x="246" y="96"/>
                  <a:pt x="246" y="101"/>
                </a:cubicBezTo>
                <a:cubicBezTo>
                  <a:pt x="246" y="106"/>
                  <a:pt x="242" y="110"/>
                  <a:pt x="242" y="110"/>
                </a:cubicBezTo>
                <a:cubicBezTo>
                  <a:pt x="236" y="116"/>
                  <a:pt x="236" y="116"/>
                  <a:pt x="236" y="116"/>
                </a:cubicBezTo>
                <a:cubicBezTo>
                  <a:pt x="238" y="122"/>
                  <a:pt x="238" y="122"/>
                  <a:pt x="238" y="122"/>
                </a:cubicBezTo>
                <a:cubicBezTo>
                  <a:pt x="238" y="122"/>
                  <a:pt x="244" y="127"/>
                  <a:pt x="246" y="132"/>
                </a:cubicBezTo>
                <a:cubicBezTo>
                  <a:pt x="247" y="137"/>
                  <a:pt x="246" y="140"/>
                  <a:pt x="244" y="142"/>
                </a:cubicBezTo>
                <a:cubicBezTo>
                  <a:pt x="241" y="144"/>
                  <a:pt x="236" y="149"/>
                  <a:pt x="236" y="149"/>
                </a:cubicBezTo>
                <a:cubicBezTo>
                  <a:pt x="236" y="157"/>
                  <a:pt x="236" y="157"/>
                  <a:pt x="236" y="157"/>
                </a:cubicBezTo>
                <a:cubicBezTo>
                  <a:pt x="236" y="157"/>
                  <a:pt x="241" y="161"/>
                  <a:pt x="242" y="164"/>
                </a:cubicBezTo>
                <a:cubicBezTo>
                  <a:pt x="243" y="168"/>
                  <a:pt x="236" y="180"/>
                  <a:pt x="233" y="182"/>
                </a:cubicBezTo>
                <a:cubicBezTo>
                  <a:pt x="229" y="185"/>
                  <a:pt x="180" y="229"/>
                  <a:pt x="180" y="229"/>
                </a:cubicBezTo>
                <a:cubicBezTo>
                  <a:pt x="68" y="229"/>
                  <a:pt x="68" y="229"/>
                  <a:pt x="68" y="229"/>
                </a:cubicBezTo>
                <a:cubicBezTo>
                  <a:pt x="14" y="182"/>
                  <a:pt x="14" y="182"/>
                  <a:pt x="14" y="182"/>
                </a:cubicBezTo>
                <a:cubicBezTo>
                  <a:pt x="14" y="182"/>
                  <a:pt x="13" y="176"/>
                  <a:pt x="13" y="173"/>
                </a:cubicBezTo>
                <a:cubicBezTo>
                  <a:pt x="12" y="169"/>
                  <a:pt x="13" y="163"/>
                  <a:pt x="10" y="161"/>
                </a:cubicBezTo>
                <a:cubicBezTo>
                  <a:pt x="7" y="159"/>
                  <a:pt x="2" y="158"/>
                  <a:pt x="2" y="153"/>
                </a:cubicBezTo>
                <a:cubicBezTo>
                  <a:pt x="2" y="148"/>
                  <a:pt x="3" y="144"/>
                  <a:pt x="6" y="143"/>
                </a:cubicBezTo>
                <a:cubicBezTo>
                  <a:pt x="8" y="142"/>
                  <a:pt x="10" y="139"/>
                  <a:pt x="9" y="135"/>
                </a:cubicBezTo>
                <a:cubicBezTo>
                  <a:pt x="8" y="132"/>
                  <a:pt x="6" y="127"/>
                  <a:pt x="4" y="122"/>
                </a:cubicBezTo>
                <a:cubicBezTo>
                  <a:pt x="2" y="118"/>
                  <a:pt x="1" y="113"/>
                  <a:pt x="3" y="110"/>
                </a:cubicBezTo>
                <a:cubicBezTo>
                  <a:pt x="6" y="106"/>
                  <a:pt x="8" y="103"/>
                  <a:pt x="8" y="103"/>
                </a:cubicBezTo>
                <a:cubicBezTo>
                  <a:pt x="8" y="96"/>
                  <a:pt x="8" y="96"/>
                  <a:pt x="8" y="96"/>
                </a:cubicBezTo>
                <a:cubicBezTo>
                  <a:pt x="8" y="96"/>
                  <a:pt x="2" y="92"/>
                  <a:pt x="2" y="86"/>
                </a:cubicBezTo>
                <a:cubicBezTo>
                  <a:pt x="2" y="79"/>
                  <a:pt x="3" y="76"/>
                  <a:pt x="6" y="74"/>
                </a:cubicBezTo>
                <a:cubicBezTo>
                  <a:pt x="8" y="73"/>
                  <a:pt x="10" y="69"/>
                  <a:pt x="10" y="69"/>
                </a:cubicBezTo>
                <a:cubicBezTo>
                  <a:pt x="10" y="69"/>
                  <a:pt x="10" y="65"/>
                  <a:pt x="9" y="62"/>
                </a:cubicBezTo>
                <a:cubicBezTo>
                  <a:pt x="8" y="59"/>
                  <a:pt x="3" y="55"/>
                  <a:pt x="2" y="50"/>
                </a:cubicBezTo>
                <a:cubicBezTo>
                  <a:pt x="2" y="18"/>
                  <a:pt x="2" y="18"/>
                  <a:pt x="2" y="18"/>
                </a:cubicBezTo>
                <a:cubicBezTo>
                  <a:pt x="2" y="18"/>
                  <a:pt x="2" y="16"/>
                  <a:pt x="2" y="12"/>
                </a:cubicBezTo>
                <a:cubicBezTo>
                  <a:pt x="2" y="9"/>
                  <a:pt x="1" y="2"/>
                  <a:pt x="1" y="2"/>
                </a:cubicBezTo>
                <a:cubicBezTo>
                  <a:pt x="0" y="0"/>
                  <a:pt x="0" y="0"/>
                  <a:pt x="0" y="0"/>
                </a:cubicBezTo>
                <a:lnTo>
                  <a:pt x="245" y="0"/>
                </a:lnTo>
                <a:close/>
              </a:path>
            </a:pathLst>
          </a:custGeom>
          <a:solidFill>
            <a:srgbClr val="30323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en-US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58" name="深度视觉·原创设计 https://www.docer.com/works?userid=22383862"/>
          <p:cNvSpPr/>
          <p:nvPr/>
        </p:nvSpPr>
        <p:spPr bwMode="auto">
          <a:xfrm>
            <a:off x="5829697" y="6247707"/>
            <a:ext cx="545817" cy="76893"/>
          </a:xfrm>
          <a:custGeom>
            <a:avLst/>
            <a:gdLst>
              <a:gd name="T0" fmla="*/ 0 w 106"/>
              <a:gd name="T1" fmla="*/ 0 h 15"/>
              <a:gd name="T2" fmla="*/ 106 w 106"/>
              <a:gd name="T3" fmla="*/ 0 h 15"/>
              <a:gd name="T4" fmla="*/ 97 w 106"/>
              <a:gd name="T5" fmla="*/ 10 h 15"/>
              <a:gd name="T6" fmla="*/ 84 w 106"/>
              <a:gd name="T7" fmla="*/ 15 h 15"/>
              <a:gd name="T8" fmla="*/ 22 w 106"/>
              <a:gd name="T9" fmla="*/ 15 h 15"/>
              <a:gd name="T10" fmla="*/ 9 w 106"/>
              <a:gd name="T11" fmla="*/ 11 h 15"/>
              <a:gd name="T12" fmla="*/ 0 w 106"/>
              <a:gd name="T13" fmla="*/ 0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06" h="15">
                <a:moveTo>
                  <a:pt x="0" y="0"/>
                </a:moveTo>
                <a:cubicBezTo>
                  <a:pt x="106" y="0"/>
                  <a:pt x="106" y="0"/>
                  <a:pt x="106" y="0"/>
                </a:cubicBezTo>
                <a:cubicBezTo>
                  <a:pt x="106" y="0"/>
                  <a:pt x="100" y="8"/>
                  <a:pt x="97" y="10"/>
                </a:cubicBezTo>
                <a:cubicBezTo>
                  <a:pt x="93" y="13"/>
                  <a:pt x="87" y="15"/>
                  <a:pt x="84" y="15"/>
                </a:cubicBezTo>
                <a:cubicBezTo>
                  <a:pt x="80" y="15"/>
                  <a:pt x="22" y="15"/>
                  <a:pt x="22" y="15"/>
                </a:cubicBezTo>
                <a:cubicBezTo>
                  <a:pt x="22" y="15"/>
                  <a:pt x="13" y="15"/>
                  <a:pt x="9" y="11"/>
                </a:cubicBezTo>
                <a:cubicBezTo>
                  <a:pt x="5" y="7"/>
                  <a:pt x="0" y="0"/>
                  <a:pt x="0" y="0"/>
                </a:cubicBezTo>
                <a:close/>
              </a:path>
            </a:pathLst>
          </a:custGeom>
          <a:solidFill>
            <a:srgbClr val="39363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en-US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59" name="深度视觉·原创设计 https://www.docer.com/works?userid=22383862"/>
          <p:cNvSpPr/>
          <p:nvPr/>
        </p:nvSpPr>
        <p:spPr bwMode="auto">
          <a:xfrm>
            <a:off x="6664180" y="5371625"/>
            <a:ext cx="61767" cy="25211"/>
          </a:xfrm>
          <a:custGeom>
            <a:avLst/>
            <a:gdLst>
              <a:gd name="T0" fmla="*/ 8 w 12"/>
              <a:gd name="T1" fmla="*/ 0 h 5"/>
              <a:gd name="T2" fmla="*/ 0 w 12"/>
              <a:gd name="T3" fmla="*/ 5 h 5"/>
              <a:gd name="T4" fmla="*/ 8 w 12"/>
              <a:gd name="T5" fmla="*/ 0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2" h="5">
                <a:moveTo>
                  <a:pt x="8" y="0"/>
                </a:moveTo>
                <a:cubicBezTo>
                  <a:pt x="8" y="0"/>
                  <a:pt x="12" y="4"/>
                  <a:pt x="0" y="5"/>
                </a:cubicBezTo>
                <a:lnTo>
                  <a:pt x="8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en-US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60" name="深度视觉·原创设计 https://www.docer.com/works?userid=22383862"/>
          <p:cNvSpPr/>
          <p:nvPr/>
        </p:nvSpPr>
        <p:spPr bwMode="auto">
          <a:xfrm>
            <a:off x="6664180" y="5169938"/>
            <a:ext cx="56724" cy="31514"/>
          </a:xfrm>
          <a:custGeom>
            <a:avLst/>
            <a:gdLst>
              <a:gd name="T0" fmla="*/ 8 w 11"/>
              <a:gd name="T1" fmla="*/ 0 h 6"/>
              <a:gd name="T2" fmla="*/ 0 w 11"/>
              <a:gd name="T3" fmla="*/ 6 h 6"/>
              <a:gd name="T4" fmla="*/ 8 w 11"/>
              <a:gd name="T5" fmla="*/ 0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1" h="6">
                <a:moveTo>
                  <a:pt x="8" y="0"/>
                </a:moveTo>
                <a:cubicBezTo>
                  <a:pt x="8" y="0"/>
                  <a:pt x="11" y="5"/>
                  <a:pt x="0" y="6"/>
                </a:cubicBezTo>
                <a:lnTo>
                  <a:pt x="8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en-US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61" name="深度视觉·原创设计 https://www.docer.com/works?userid=22383862"/>
          <p:cNvSpPr/>
          <p:nvPr/>
        </p:nvSpPr>
        <p:spPr bwMode="auto">
          <a:xfrm>
            <a:off x="6633927" y="5551884"/>
            <a:ext cx="86978" cy="25211"/>
          </a:xfrm>
          <a:custGeom>
            <a:avLst/>
            <a:gdLst>
              <a:gd name="T0" fmla="*/ 13 w 17"/>
              <a:gd name="T1" fmla="*/ 0 h 5"/>
              <a:gd name="T2" fmla="*/ 0 w 17"/>
              <a:gd name="T3" fmla="*/ 5 h 5"/>
              <a:gd name="T4" fmla="*/ 13 w 17"/>
              <a:gd name="T5" fmla="*/ 0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7" h="5">
                <a:moveTo>
                  <a:pt x="13" y="0"/>
                </a:moveTo>
                <a:cubicBezTo>
                  <a:pt x="13" y="0"/>
                  <a:pt x="17" y="4"/>
                  <a:pt x="0" y="5"/>
                </a:cubicBezTo>
                <a:lnTo>
                  <a:pt x="13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en-US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62" name="深度视觉·原创设计 https://www.docer.com/works?userid=22383862"/>
          <p:cNvSpPr/>
          <p:nvPr/>
        </p:nvSpPr>
        <p:spPr bwMode="auto">
          <a:xfrm>
            <a:off x="6644011" y="5660291"/>
            <a:ext cx="71851" cy="92020"/>
          </a:xfrm>
          <a:custGeom>
            <a:avLst/>
            <a:gdLst>
              <a:gd name="T0" fmla="*/ 6 w 14"/>
              <a:gd name="T1" fmla="*/ 0 h 18"/>
              <a:gd name="T2" fmla="*/ 8 w 14"/>
              <a:gd name="T3" fmla="*/ 8 h 18"/>
              <a:gd name="T4" fmla="*/ 14 w 14"/>
              <a:gd name="T5" fmla="*/ 14 h 18"/>
              <a:gd name="T6" fmla="*/ 0 w 14"/>
              <a:gd name="T7" fmla="*/ 17 h 18"/>
              <a:gd name="T8" fmla="*/ 6 w 14"/>
              <a:gd name="T9" fmla="*/ 13 h 18"/>
              <a:gd name="T10" fmla="*/ 6 w 14"/>
              <a:gd name="T11" fmla="*/ 0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4" h="18">
                <a:moveTo>
                  <a:pt x="6" y="0"/>
                </a:moveTo>
                <a:cubicBezTo>
                  <a:pt x="6" y="0"/>
                  <a:pt x="7" y="7"/>
                  <a:pt x="8" y="8"/>
                </a:cubicBezTo>
                <a:cubicBezTo>
                  <a:pt x="9" y="9"/>
                  <a:pt x="14" y="14"/>
                  <a:pt x="14" y="14"/>
                </a:cubicBezTo>
                <a:cubicBezTo>
                  <a:pt x="14" y="14"/>
                  <a:pt x="3" y="18"/>
                  <a:pt x="0" y="17"/>
                </a:cubicBezTo>
                <a:cubicBezTo>
                  <a:pt x="0" y="17"/>
                  <a:pt x="5" y="15"/>
                  <a:pt x="6" y="13"/>
                </a:cubicBezTo>
                <a:cubicBezTo>
                  <a:pt x="7" y="11"/>
                  <a:pt x="5" y="2"/>
                  <a:pt x="6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en-US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63" name="深度视觉·原创设计 https://www.docer.com/works?userid=22383862"/>
          <p:cNvSpPr/>
          <p:nvPr/>
        </p:nvSpPr>
        <p:spPr bwMode="auto">
          <a:xfrm>
            <a:off x="6669222" y="5887190"/>
            <a:ext cx="36556" cy="30254"/>
          </a:xfrm>
          <a:custGeom>
            <a:avLst/>
            <a:gdLst>
              <a:gd name="T0" fmla="*/ 4 w 7"/>
              <a:gd name="T1" fmla="*/ 0 h 6"/>
              <a:gd name="T2" fmla="*/ 0 w 7"/>
              <a:gd name="T3" fmla="*/ 6 h 6"/>
              <a:gd name="T4" fmla="*/ 4 w 7"/>
              <a:gd name="T5" fmla="*/ 0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7" h="6">
                <a:moveTo>
                  <a:pt x="4" y="0"/>
                </a:moveTo>
                <a:cubicBezTo>
                  <a:pt x="4" y="0"/>
                  <a:pt x="7" y="4"/>
                  <a:pt x="0" y="6"/>
                </a:cubicBezTo>
                <a:lnTo>
                  <a:pt x="4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en-US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64" name="深度视觉·原创设计 https://www.docer.com/works?userid=22383862"/>
          <p:cNvSpPr/>
          <p:nvPr/>
        </p:nvSpPr>
        <p:spPr bwMode="auto">
          <a:xfrm>
            <a:off x="5494391" y="5433392"/>
            <a:ext cx="108407" cy="25211"/>
          </a:xfrm>
          <a:custGeom>
            <a:avLst/>
            <a:gdLst>
              <a:gd name="T0" fmla="*/ 7 w 21"/>
              <a:gd name="T1" fmla="*/ 0 h 5"/>
              <a:gd name="T2" fmla="*/ 21 w 21"/>
              <a:gd name="T3" fmla="*/ 0 h 5"/>
              <a:gd name="T4" fmla="*/ 4 w 21"/>
              <a:gd name="T5" fmla="*/ 5 h 5"/>
              <a:gd name="T6" fmla="*/ 7 w 21"/>
              <a:gd name="T7" fmla="*/ 0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" h="5">
                <a:moveTo>
                  <a:pt x="7" y="0"/>
                </a:moveTo>
                <a:cubicBezTo>
                  <a:pt x="21" y="0"/>
                  <a:pt x="21" y="0"/>
                  <a:pt x="21" y="0"/>
                </a:cubicBezTo>
                <a:cubicBezTo>
                  <a:pt x="21" y="0"/>
                  <a:pt x="8" y="4"/>
                  <a:pt x="4" y="5"/>
                </a:cubicBezTo>
                <a:cubicBezTo>
                  <a:pt x="0" y="5"/>
                  <a:pt x="7" y="0"/>
                  <a:pt x="7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en-US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65" name="深度视觉·原创设计 https://www.docer.com/works?userid=22383862"/>
          <p:cNvSpPr/>
          <p:nvPr/>
        </p:nvSpPr>
        <p:spPr bwMode="auto">
          <a:xfrm>
            <a:off x="5494391" y="5603567"/>
            <a:ext cx="113450" cy="25211"/>
          </a:xfrm>
          <a:custGeom>
            <a:avLst/>
            <a:gdLst>
              <a:gd name="T0" fmla="*/ 6 w 22"/>
              <a:gd name="T1" fmla="*/ 0 h 5"/>
              <a:gd name="T2" fmla="*/ 22 w 22"/>
              <a:gd name="T3" fmla="*/ 1 h 5"/>
              <a:gd name="T4" fmla="*/ 1 w 22"/>
              <a:gd name="T5" fmla="*/ 5 h 5"/>
              <a:gd name="T6" fmla="*/ 6 w 22"/>
              <a:gd name="T7" fmla="*/ 0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2" h="5">
                <a:moveTo>
                  <a:pt x="6" y="0"/>
                </a:moveTo>
                <a:cubicBezTo>
                  <a:pt x="22" y="1"/>
                  <a:pt x="22" y="1"/>
                  <a:pt x="22" y="1"/>
                </a:cubicBezTo>
                <a:cubicBezTo>
                  <a:pt x="22" y="1"/>
                  <a:pt x="3" y="5"/>
                  <a:pt x="1" y="5"/>
                </a:cubicBezTo>
                <a:cubicBezTo>
                  <a:pt x="0" y="5"/>
                  <a:pt x="6" y="0"/>
                  <a:pt x="6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en-US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66" name="深度视觉·原创设计 https://www.docer.com/works?userid=22383862"/>
          <p:cNvSpPr/>
          <p:nvPr/>
        </p:nvSpPr>
        <p:spPr bwMode="auto">
          <a:xfrm>
            <a:off x="5484306" y="5798951"/>
            <a:ext cx="118492" cy="31514"/>
          </a:xfrm>
          <a:custGeom>
            <a:avLst/>
            <a:gdLst>
              <a:gd name="T0" fmla="*/ 7 w 23"/>
              <a:gd name="T1" fmla="*/ 0 h 6"/>
              <a:gd name="T2" fmla="*/ 23 w 23"/>
              <a:gd name="T3" fmla="*/ 1 h 6"/>
              <a:gd name="T4" fmla="*/ 2 w 23"/>
              <a:gd name="T5" fmla="*/ 6 h 6"/>
              <a:gd name="T6" fmla="*/ 7 w 23"/>
              <a:gd name="T7" fmla="*/ 0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3" h="6">
                <a:moveTo>
                  <a:pt x="7" y="0"/>
                </a:moveTo>
                <a:cubicBezTo>
                  <a:pt x="23" y="1"/>
                  <a:pt x="23" y="1"/>
                  <a:pt x="23" y="1"/>
                </a:cubicBezTo>
                <a:cubicBezTo>
                  <a:pt x="23" y="1"/>
                  <a:pt x="4" y="6"/>
                  <a:pt x="2" y="6"/>
                </a:cubicBezTo>
                <a:cubicBezTo>
                  <a:pt x="0" y="6"/>
                  <a:pt x="7" y="0"/>
                  <a:pt x="7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en-US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67" name="深度视觉·原创设计 https://www.docer.com/works?userid=22383862"/>
          <p:cNvSpPr>
            <a:spLocks noEditPoints="1"/>
          </p:cNvSpPr>
          <p:nvPr/>
        </p:nvSpPr>
        <p:spPr bwMode="auto">
          <a:xfrm>
            <a:off x="6009955" y="5221620"/>
            <a:ext cx="205470" cy="315137"/>
          </a:xfrm>
          <a:custGeom>
            <a:avLst/>
            <a:gdLst>
              <a:gd name="T0" fmla="*/ 34 w 40"/>
              <a:gd name="T1" fmla="*/ 33 h 61"/>
              <a:gd name="T2" fmla="*/ 40 w 40"/>
              <a:gd name="T3" fmla="*/ 20 h 61"/>
              <a:gd name="T4" fmla="*/ 20 w 40"/>
              <a:gd name="T5" fmla="*/ 0 h 61"/>
              <a:gd name="T6" fmla="*/ 0 w 40"/>
              <a:gd name="T7" fmla="*/ 20 h 61"/>
              <a:gd name="T8" fmla="*/ 5 w 40"/>
              <a:gd name="T9" fmla="*/ 33 h 61"/>
              <a:gd name="T10" fmla="*/ 5 w 40"/>
              <a:gd name="T11" fmla="*/ 33 h 61"/>
              <a:gd name="T12" fmla="*/ 11 w 40"/>
              <a:gd name="T13" fmla="*/ 47 h 61"/>
              <a:gd name="T14" fmla="*/ 10 w 40"/>
              <a:gd name="T15" fmla="*/ 49 h 61"/>
              <a:gd name="T16" fmla="*/ 11 w 40"/>
              <a:gd name="T17" fmla="*/ 51 h 61"/>
              <a:gd name="T18" fmla="*/ 10 w 40"/>
              <a:gd name="T19" fmla="*/ 54 h 61"/>
              <a:gd name="T20" fmla="*/ 11 w 40"/>
              <a:gd name="T21" fmla="*/ 56 h 61"/>
              <a:gd name="T22" fmla="*/ 10 w 40"/>
              <a:gd name="T23" fmla="*/ 58 h 61"/>
              <a:gd name="T24" fmla="*/ 13 w 40"/>
              <a:gd name="T25" fmla="*/ 61 h 61"/>
              <a:gd name="T26" fmla="*/ 26 w 40"/>
              <a:gd name="T27" fmla="*/ 61 h 61"/>
              <a:gd name="T28" fmla="*/ 29 w 40"/>
              <a:gd name="T29" fmla="*/ 58 h 61"/>
              <a:gd name="T30" fmla="*/ 28 w 40"/>
              <a:gd name="T31" fmla="*/ 56 h 61"/>
              <a:gd name="T32" fmla="*/ 29 w 40"/>
              <a:gd name="T33" fmla="*/ 54 h 61"/>
              <a:gd name="T34" fmla="*/ 28 w 40"/>
              <a:gd name="T35" fmla="*/ 51 h 61"/>
              <a:gd name="T36" fmla="*/ 29 w 40"/>
              <a:gd name="T37" fmla="*/ 49 h 61"/>
              <a:gd name="T38" fmla="*/ 29 w 40"/>
              <a:gd name="T39" fmla="*/ 47 h 61"/>
              <a:gd name="T40" fmla="*/ 34 w 40"/>
              <a:gd name="T41" fmla="*/ 33 h 61"/>
              <a:gd name="T42" fmla="*/ 20 w 40"/>
              <a:gd name="T43" fmla="*/ 47 h 61"/>
              <a:gd name="T44" fmla="*/ 19 w 40"/>
              <a:gd name="T45" fmla="*/ 47 h 61"/>
              <a:gd name="T46" fmla="*/ 19 w 40"/>
              <a:gd name="T47" fmla="*/ 37 h 61"/>
              <a:gd name="T48" fmla="*/ 20 w 40"/>
              <a:gd name="T49" fmla="*/ 36 h 61"/>
              <a:gd name="T50" fmla="*/ 20 w 40"/>
              <a:gd name="T51" fmla="*/ 36 h 61"/>
              <a:gd name="T52" fmla="*/ 20 w 40"/>
              <a:gd name="T53" fmla="*/ 37 h 61"/>
              <a:gd name="T54" fmla="*/ 20 w 40"/>
              <a:gd name="T55" fmla="*/ 47 h 61"/>
              <a:gd name="T56" fmla="*/ 32 w 40"/>
              <a:gd name="T57" fmla="*/ 31 h 61"/>
              <a:gd name="T58" fmla="*/ 32 w 40"/>
              <a:gd name="T59" fmla="*/ 32 h 61"/>
              <a:gd name="T60" fmla="*/ 26 w 40"/>
              <a:gd name="T61" fmla="*/ 47 h 61"/>
              <a:gd name="T62" fmla="*/ 23 w 40"/>
              <a:gd name="T63" fmla="*/ 47 h 61"/>
              <a:gd name="T64" fmla="*/ 23 w 40"/>
              <a:gd name="T65" fmla="*/ 37 h 61"/>
              <a:gd name="T66" fmla="*/ 23 w 40"/>
              <a:gd name="T67" fmla="*/ 37 h 61"/>
              <a:gd name="T68" fmla="*/ 28 w 40"/>
              <a:gd name="T69" fmla="*/ 22 h 61"/>
              <a:gd name="T70" fmla="*/ 28 w 40"/>
              <a:gd name="T71" fmla="*/ 21 h 61"/>
              <a:gd name="T72" fmla="*/ 27 w 40"/>
              <a:gd name="T73" fmla="*/ 21 h 61"/>
              <a:gd name="T74" fmla="*/ 23 w 40"/>
              <a:gd name="T75" fmla="*/ 32 h 61"/>
              <a:gd name="T76" fmla="*/ 23 w 40"/>
              <a:gd name="T77" fmla="*/ 26 h 61"/>
              <a:gd name="T78" fmla="*/ 23 w 40"/>
              <a:gd name="T79" fmla="*/ 25 h 61"/>
              <a:gd name="T80" fmla="*/ 22 w 40"/>
              <a:gd name="T81" fmla="*/ 26 h 61"/>
              <a:gd name="T82" fmla="*/ 22 w 40"/>
              <a:gd name="T83" fmla="*/ 34 h 61"/>
              <a:gd name="T84" fmla="*/ 20 w 40"/>
              <a:gd name="T85" fmla="*/ 33 h 61"/>
              <a:gd name="T86" fmla="*/ 17 w 40"/>
              <a:gd name="T87" fmla="*/ 34 h 61"/>
              <a:gd name="T88" fmla="*/ 17 w 40"/>
              <a:gd name="T89" fmla="*/ 26 h 61"/>
              <a:gd name="T90" fmla="*/ 17 w 40"/>
              <a:gd name="T91" fmla="*/ 25 h 61"/>
              <a:gd name="T92" fmla="*/ 16 w 40"/>
              <a:gd name="T93" fmla="*/ 26 h 61"/>
              <a:gd name="T94" fmla="*/ 16 w 40"/>
              <a:gd name="T95" fmla="*/ 32 h 61"/>
              <a:gd name="T96" fmla="*/ 13 w 40"/>
              <a:gd name="T97" fmla="*/ 21 h 61"/>
              <a:gd name="T98" fmla="*/ 12 w 40"/>
              <a:gd name="T99" fmla="*/ 21 h 61"/>
              <a:gd name="T100" fmla="*/ 11 w 40"/>
              <a:gd name="T101" fmla="*/ 22 h 61"/>
              <a:gd name="T102" fmla="*/ 16 w 40"/>
              <a:gd name="T103" fmla="*/ 37 h 61"/>
              <a:gd name="T104" fmla="*/ 16 w 40"/>
              <a:gd name="T105" fmla="*/ 37 h 61"/>
              <a:gd name="T106" fmla="*/ 16 w 40"/>
              <a:gd name="T107" fmla="*/ 47 h 61"/>
              <a:gd name="T108" fmla="*/ 14 w 40"/>
              <a:gd name="T109" fmla="*/ 47 h 61"/>
              <a:gd name="T110" fmla="*/ 7 w 40"/>
              <a:gd name="T111" fmla="*/ 32 h 61"/>
              <a:gd name="T112" fmla="*/ 7 w 40"/>
              <a:gd name="T113" fmla="*/ 31 h 61"/>
              <a:gd name="T114" fmla="*/ 7 w 40"/>
              <a:gd name="T115" fmla="*/ 31 h 61"/>
              <a:gd name="T116" fmla="*/ 3 w 40"/>
              <a:gd name="T117" fmla="*/ 20 h 61"/>
              <a:gd name="T118" fmla="*/ 20 w 40"/>
              <a:gd name="T119" fmla="*/ 3 h 61"/>
              <a:gd name="T120" fmla="*/ 37 w 40"/>
              <a:gd name="T121" fmla="*/ 20 h 61"/>
              <a:gd name="T122" fmla="*/ 32 w 40"/>
              <a:gd name="T123" fmla="*/ 31 h 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0" h="61">
                <a:moveTo>
                  <a:pt x="34" y="33"/>
                </a:moveTo>
                <a:cubicBezTo>
                  <a:pt x="38" y="30"/>
                  <a:pt x="40" y="25"/>
                  <a:pt x="40" y="20"/>
                </a:cubicBezTo>
                <a:cubicBezTo>
                  <a:pt x="40" y="9"/>
                  <a:pt x="31" y="0"/>
                  <a:pt x="20" y="0"/>
                </a:cubicBezTo>
                <a:cubicBezTo>
                  <a:pt x="9" y="0"/>
                  <a:pt x="0" y="9"/>
                  <a:pt x="0" y="20"/>
                </a:cubicBezTo>
                <a:cubicBezTo>
                  <a:pt x="0" y="25"/>
                  <a:pt x="2" y="30"/>
                  <a:pt x="5" y="33"/>
                </a:cubicBezTo>
                <a:cubicBezTo>
                  <a:pt x="5" y="33"/>
                  <a:pt x="5" y="33"/>
                  <a:pt x="5" y="33"/>
                </a:cubicBezTo>
                <a:cubicBezTo>
                  <a:pt x="5" y="33"/>
                  <a:pt x="10" y="40"/>
                  <a:pt x="11" y="47"/>
                </a:cubicBezTo>
                <a:cubicBezTo>
                  <a:pt x="10" y="48"/>
                  <a:pt x="10" y="49"/>
                  <a:pt x="10" y="49"/>
                </a:cubicBezTo>
                <a:cubicBezTo>
                  <a:pt x="10" y="50"/>
                  <a:pt x="10" y="51"/>
                  <a:pt x="11" y="51"/>
                </a:cubicBezTo>
                <a:cubicBezTo>
                  <a:pt x="10" y="52"/>
                  <a:pt x="10" y="53"/>
                  <a:pt x="10" y="54"/>
                </a:cubicBezTo>
                <a:cubicBezTo>
                  <a:pt x="10" y="54"/>
                  <a:pt x="10" y="55"/>
                  <a:pt x="11" y="56"/>
                </a:cubicBezTo>
                <a:cubicBezTo>
                  <a:pt x="10" y="56"/>
                  <a:pt x="10" y="57"/>
                  <a:pt x="10" y="58"/>
                </a:cubicBezTo>
                <a:cubicBezTo>
                  <a:pt x="10" y="59"/>
                  <a:pt x="11" y="61"/>
                  <a:pt x="13" y="61"/>
                </a:cubicBezTo>
                <a:cubicBezTo>
                  <a:pt x="26" y="61"/>
                  <a:pt x="26" y="61"/>
                  <a:pt x="26" y="61"/>
                </a:cubicBezTo>
                <a:cubicBezTo>
                  <a:pt x="28" y="61"/>
                  <a:pt x="29" y="59"/>
                  <a:pt x="29" y="58"/>
                </a:cubicBezTo>
                <a:cubicBezTo>
                  <a:pt x="29" y="57"/>
                  <a:pt x="29" y="56"/>
                  <a:pt x="28" y="56"/>
                </a:cubicBezTo>
                <a:cubicBezTo>
                  <a:pt x="29" y="55"/>
                  <a:pt x="29" y="54"/>
                  <a:pt x="29" y="54"/>
                </a:cubicBezTo>
                <a:cubicBezTo>
                  <a:pt x="29" y="53"/>
                  <a:pt x="29" y="52"/>
                  <a:pt x="28" y="51"/>
                </a:cubicBezTo>
                <a:cubicBezTo>
                  <a:pt x="29" y="51"/>
                  <a:pt x="29" y="50"/>
                  <a:pt x="29" y="49"/>
                </a:cubicBezTo>
                <a:cubicBezTo>
                  <a:pt x="29" y="49"/>
                  <a:pt x="29" y="48"/>
                  <a:pt x="29" y="47"/>
                </a:cubicBezTo>
                <a:cubicBezTo>
                  <a:pt x="29" y="40"/>
                  <a:pt x="34" y="33"/>
                  <a:pt x="34" y="33"/>
                </a:cubicBezTo>
                <a:close/>
                <a:moveTo>
                  <a:pt x="20" y="47"/>
                </a:moveTo>
                <a:cubicBezTo>
                  <a:pt x="19" y="47"/>
                  <a:pt x="19" y="47"/>
                  <a:pt x="19" y="47"/>
                </a:cubicBezTo>
                <a:cubicBezTo>
                  <a:pt x="19" y="37"/>
                  <a:pt x="19" y="37"/>
                  <a:pt x="19" y="37"/>
                </a:cubicBezTo>
                <a:cubicBezTo>
                  <a:pt x="19" y="37"/>
                  <a:pt x="19" y="36"/>
                  <a:pt x="20" y="36"/>
                </a:cubicBezTo>
                <a:cubicBezTo>
                  <a:pt x="20" y="36"/>
                  <a:pt x="20" y="36"/>
                  <a:pt x="20" y="36"/>
                </a:cubicBezTo>
                <a:cubicBezTo>
                  <a:pt x="20" y="37"/>
                  <a:pt x="20" y="37"/>
                  <a:pt x="20" y="37"/>
                </a:cubicBezTo>
                <a:lnTo>
                  <a:pt x="20" y="47"/>
                </a:lnTo>
                <a:close/>
                <a:moveTo>
                  <a:pt x="32" y="31"/>
                </a:moveTo>
                <a:cubicBezTo>
                  <a:pt x="32" y="32"/>
                  <a:pt x="32" y="32"/>
                  <a:pt x="32" y="32"/>
                </a:cubicBezTo>
                <a:cubicBezTo>
                  <a:pt x="32" y="32"/>
                  <a:pt x="26" y="39"/>
                  <a:pt x="26" y="47"/>
                </a:cubicBezTo>
                <a:cubicBezTo>
                  <a:pt x="23" y="47"/>
                  <a:pt x="23" y="47"/>
                  <a:pt x="23" y="47"/>
                </a:cubicBezTo>
                <a:cubicBezTo>
                  <a:pt x="23" y="37"/>
                  <a:pt x="23" y="37"/>
                  <a:pt x="23" y="37"/>
                </a:cubicBezTo>
                <a:cubicBezTo>
                  <a:pt x="23" y="37"/>
                  <a:pt x="23" y="37"/>
                  <a:pt x="23" y="37"/>
                </a:cubicBezTo>
                <a:cubicBezTo>
                  <a:pt x="28" y="22"/>
                  <a:pt x="28" y="22"/>
                  <a:pt x="28" y="22"/>
                </a:cubicBezTo>
                <a:cubicBezTo>
                  <a:pt x="28" y="21"/>
                  <a:pt x="28" y="21"/>
                  <a:pt x="28" y="21"/>
                </a:cubicBezTo>
                <a:cubicBezTo>
                  <a:pt x="27" y="21"/>
                  <a:pt x="27" y="21"/>
                  <a:pt x="27" y="21"/>
                </a:cubicBezTo>
                <a:cubicBezTo>
                  <a:pt x="23" y="32"/>
                  <a:pt x="23" y="32"/>
                  <a:pt x="23" y="32"/>
                </a:cubicBezTo>
                <a:cubicBezTo>
                  <a:pt x="23" y="26"/>
                  <a:pt x="23" y="26"/>
                  <a:pt x="23" y="26"/>
                </a:cubicBezTo>
                <a:cubicBezTo>
                  <a:pt x="23" y="25"/>
                  <a:pt x="23" y="25"/>
                  <a:pt x="23" y="25"/>
                </a:cubicBezTo>
                <a:cubicBezTo>
                  <a:pt x="22" y="26"/>
                  <a:pt x="22" y="26"/>
                  <a:pt x="22" y="26"/>
                </a:cubicBezTo>
                <a:cubicBezTo>
                  <a:pt x="22" y="34"/>
                  <a:pt x="22" y="34"/>
                  <a:pt x="22" y="34"/>
                </a:cubicBezTo>
                <a:cubicBezTo>
                  <a:pt x="21" y="34"/>
                  <a:pt x="21" y="33"/>
                  <a:pt x="20" y="33"/>
                </a:cubicBezTo>
                <a:cubicBezTo>
                  <a:pt x="19" y="33"/>
                  <a:pt x="18" y="34"/>
                  <a:pt x="17" y="34"/>
                </a:cubicBezTo>
                <a:cubicBezTo>
                  <a:pt x="17" y="26"/>
                  <a:pt x="17" y="26"/>
                  <a:pt x="17" y="26"/>
                </a:cubicBezTo>
                <a:cubicBezTo>
                  <a:pt x="17" y="25"/>
                  <a:pt x="17" y="25"/>
                  <a:pt x="17" y="25"/>
                </a:cubicBezTo>
                <a:cubicBezTo>
                  <a:pt x="16" y="26"/>
                  <a:pt x="16" y="26"/>
                  <a:pt x="16" y="26"/>
                </a:cubicBezTo>
                <a:cubicBezTo>
                  <a:pt x="16" y="32"/>
                  <a:pt x="16" y="32"/>
                  <a:pt x="16" y="32"/>
                </a:cubicBezTo>
                <a:cubicBezTo>
                  <a:pt x="13" y="21"/>
                  <a:pt x="13" y="21"/>
                  <a:pt x="13" y="21"/>
                </a:cubicBezTo>
                <a:cubicBezTo>
                  <a:pt x="13" y="21"/>
                  <a:pt x="12" y="21"/>
                  <a:pt x="12" y="21"/>
                </a:cubicBezTo>
                <a:cubicBezTo>
                  <a:pt x="11" y="21"/>
                  <a:pt x="11" y="21"/>
                  <a:pt x="11" y="22"/>
                </a:cubicBezTo>
                <a:cubicBezTo>
                  <a:pt x="16" y="37"/>
                  <a:pt x="16" y="37"/>
                  <a:pt x="16" y="37"/>
                </a:cubicBezTo>
                <a:cubicBezTo>
                  <a:pt x="16" y="37"/>
                  <a:pt x="16" y="37"/>
                  <a:pt x="16" y="37"/>
                </a:cubicBezTo>
                <a:cubicBezTo>
                  <a:pt x="16" y="47"/>
                  <a:pt x="16" y="47"/>
                  <a:pt x="16" y="47"/>
                </a:cubicBezTo>
                <a:cubicBezTo>
                  <a:pt x="14" y="47"/>
                  <a:pt x="14" y="47"/>
                  <a:pt x="14" y="47"/>
                </a:cubicBezTo>
                <a:cubicBezTo>
                  <a:pt x="13" y="39"/>
                  <a:pt x="8" y="32"/>
                  <a:pt x="7" y="32"/>
                </a:cubicBezTo>
                <a:cubicBezTo>
                  <a:pt x="7" y="31"/>
                  <a:pt x="7" y="31"/>
                  <a:pt x="7" y="31"/>
                </a:cubicBezTo>
                <a:cubicBezTo>
                  <a:pt x="7" y="31"/>
                  <a:pt x="7" y="31"/>
                  <a:pt x="7" y="31"/>
                </a:cubicBezTo>
                <a:cubicBezTo>
                  <a:pt x="4" y="28"/>
                  <a:pt x="3" y="24"/>
                  <a:pt x="3" y="20"/>
                </a:cubicBezTo>
                <a:cubicBezTo>
                  <a:pt x="3" y="11"/>
                  <a:pt x="10" y="3"/>
                  <a:pt x="20" y="3"/>
                </a:cubicBezTo>
                <a:cubicBezTo>
                  <a:pt x="29" y="3"/>
                  <a:pt x="37" y="11"/>
                  <a:pt x="37" y="20"/>
                </a:cubicBezTo>
                <a:cubicBezTo>
                  <a:pt x="37" y="24"/>
                  <a:pt x="35" y="28"/>
                  <a:pt x="32" y="3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en-US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68" name="深度视觉·原创设计 https://www.docer.com/works?userid=22383862"/>
          <p:cNvSpPr/>
          <p:nvPr/>
        </p:nvSpPr>
        <p:spPr bwMode="auto">
          <a:xfrm>
            <a:off x="6081806" y="5536757"/>
            <a:ext cx="56724" cy="25211"/>
          </a:xfrm>
          <a:custGeom>
            <a:avLst/>
            <a:gdLst>
              <a:gd name="T0" fmla="*/ 5 w 11"/>
              <a:gd name="T1" fmla="*/ 5 h 5"/>
              <a:gd name="T2" fmla="*/ 6 w 11"/>
              <a:gd name="T3" fmla="*/ 5 h 5"/>
              <a:gd name="T4" fmla="*/ 11 w 11"/>
              <a:gd name="T5" fmla="*/ 0 h 5"/>
              <a:gd name="T6" fmla="*/ 0 w 11"/>
              <a:gd name="T7" fmla="*/ 0 h 5"/>
              <a:gd name="T8" fmla="*/ 5 w 11"/>
              <a:gd name="T9" fmla="*/ 5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1" h="5">
                <a:moveTo>
                  <a:pt x="5" y="5"/>
                </a:moveTo>
                <a:cubicBezTo>
                  <a:pt x="6" y="5"/>
                  <a:pt x="6" y="5"/>
                  <a:pt x="6" y="5"/>
                </a:cubicBezTo>
                <a:cubicBezTo>
                  <a:pt x="9" y="5"/>
                  <a:pt x="11" y="3"/>
                  <a:pt x="11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3"/>
                  <a:pt x="2" y="5"/>
                  <a:pt x="5" y="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en-US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69" name="深度视觉·原创设计 https://www.docer.com/works?userid=22383862"/>
          <p:cNvSpPr/>
          <p:nvPr/>
        </p:nvSpPr>
        <p:spPr bwMode="auto">
          <a:xfrm>
            <a:off x="6101975" y="5350196"/>
            <a:ext cx="21429" cy="10085"/>
          </a:xfrm>
          <a:custGeom>
            <a:avLst/>
            <a:gdLst>
              <a:gd name="T0" fmla="*/ 3 w 4"/>
              <a:gd name="T1" fmla="*/ 0 h 2"/>
              <a:gd name="T2" fmla="*/ 1 w 4"/>
              <a:gd name="T3" fmla="*/ 0 h 2"/>
              <a:gd name="T4" fmla="*/ 0 w 4"/>
              <a:gd name="T5" fmla="*/ 1 h 2"/>
              <a:gd name="T6" fmla="*/ 1 w 4"/>
              <a:gd name="T7" fmla="*/ 2 h 2"/>
              <a:gd name="T8" fmla="*/ 3 w 4"/>
              <a:gd name="T9" fmla="*/ 2 h 2"/>
              <a:gd name="T10" fmla="*/ 4 w 4"/>
              <a:gd name="T11" fmla="*/ 1 h 2"/>
              <a:gd name="T12" fmla="*/ 3 w 4"/>
              <a:gd name="T13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" h="2">
                <a:moveTo>
                  <a:pt x="3" y="0"/>
                </a:moveTo>
                <a:cubicBezTo>
                  <a:pt x="1" y="0"/>
                  <a:pt x="1" y="0"/>
                  <a:pt x="1" y="0"/>
                </a:cubicBezTo>
                <a:cubicBezTo>
                  <a:pt x="0" y="0"/>
                  <a:pt x="0" y="0"/>
                  <a:pt x="0" y="1"/>
                </a:cubicBezTo>
                <a:cubicBezTo>
                  <a:pt x="0" y="2"/>
                  <a:pt x="0" y="2"/>
                  <a:pt x="1" y="2"/>
                </a:cubicBezTo>
                <a:cubicBezTo>
                  <a:pt x="3" y="2"/>
                  <a:pt x="3" y="2"/>
                  <a:pt x="3" y="2"/>
                </a:cubicBezTo>
                <a:cubicBezTo>
                  <a:pt x="3" y="2"/>
                  <a:pt x="4" y="2"/>
                  <a:pt x="4" y="1"/>
                </a:cubicBezTo>
                <a:cubicBezTo>
                  <a:pt x="4" y="0"/>
                  <a:pt x="3" y="0"/>
                  <a:pt x="3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en-US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70" name="深度视觉·原创设计 https://www.docer.com/works?userid=22383862"/>
          <p:cNvSpPr/>
          <p:nvPr/>
        </p:nvSpPr>
        <p:spPr bwMode="auto">
          <a:xfrm>
            <a:off x="6076764" y="5330027"/>
            <a:ext cx="66809" cy="5042"/>
          </a:xfrm>
          <a:custGeom>
            <a:avLst/>
            <a:gdLst>
              <a:gd name="T0" fmla="*/ 53 w 53"/>
              <a:gd name="T1" fmla="*/ 0 h 4"/>
              <a:gd name="T2" fmla="*/ 4 w 53"/>
              <a:gd name="T3" fmla="*/ 0 h 4"/>
              <a:gd name="T4" fmla="*/ 0 w 53"/>
              <a:gd name="T5" fmla="*/ 0 h 4"/>
              <a:gd name="T6" fmla="*/ 4 w 53"/>
              <a:gd name="T7" fmla="*/ 4 h 4"/>
              <a:gd name="T8" fmla="*/ 53 w 53"/>
              <a:gd name="T9" fmla="*/ 4 h 4"/>
              <a:gd name="T10" fmla="*/ 53 w 53"/>
              <a:gd name="T11" fmla="*/ 0 h 4"/>
              <a:gd name="T12" fmla="*/ 53 w 53"/>
              <a:gd name="T13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3" h="4">
                <a:moveTo>
                  <a:pt x="53" y="0"/>
                </a:moveTo>
                <a:lnTo>
                  <a:pt x="4" y="0"/>
                </a:lnTo>
                <a:lnTo>
                  <a:pt x="0" y="0"/>
                </a:lnTo>
                <a:lnTo>
                  <a:pt x="4" y="4"/>
                </a:lnTo>
                <a:lnTo>
                  <a:pt x="53" y="4"/>
                </a:lnTo>
                <a:lnTo>
                  <a:pt x="53" y="0"/>
                </a:lnTo>
                <a:lnTo>
                  <a:pt x="53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en-US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71" name="深度视觉·原创设计 https://www.docer.com/works?userid=22383862"/>
          <p:cNvSpPr/>
          <p:nvPr/>
        </p:nvSpPr>
        <p:spPr>
          <a:xfrm>
            <a:off x="8677020" y="2254247"/>
            <a:ext cx="2009488" cy="8399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lnSpc>
                <a:spcPts val="2000"/>
              </a:lnSpc>
              <a:defRPr/>
            </a:pPr>
            <a:r>
              <a:rPr lang="zh-CN" altLang="en-US" sz="1100" dirty="0">
                <a:solidFill>
                  <a:schemeClr val="bg1">
                    <a:lumMod val="50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请在此处添加具体内容，文字尽量言简意赅，简单说明即可，不必过于繁琐</a:t>
            </a:r>
            <a:endParaRPr lang="zh-CN" altLang="en-US" sz="1100" dirty="0">
              <a:solidFill>
                <a:schemeClr val="bg1">
                  <a:lumMod val="50000"/>
                </a:schemeClr>
              </a:solidFill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72" name="深度视觉·原创设计 https://www.docer.com/works?userid=22383862"/>
          <p:cNvSpPr/>
          <p:nvPr/>
        </p:nvSpPr>
        <p:spPr>
          <a:xfrm>
            <a:off x="8677020" y="1933004"/>
            <a:ext cx="1092141" cy="3371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600" b="1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汉仪正圆-55W" panose="00020600040101010101" pitchFamily="18" charset="-122"/>
                <a:ea typeface="汉仪正圆-55W" panose="00020600040101010101" pitchFamily="18" charset="-122"/>
                <a:cs typeface="Open Sans" pitchFamily="34" charset="0"/>
                <a:sym typeface="汉仪正圆-55W" panose="00020600040101010101" pitchFamily="18" charset="-122"/>
              </a:rPr>
              <a:t>添加标题</a:t>
            </a:r>
            <a:endParaRPr kumimoji="0" lang="zh-CN" altLang="en-US" sz="16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汉仪正圆-55W" panose="00020600040101010101" pitchFamily="18" charset="-122"/>
              <a:ea typeface="汉仪正圆-55W" panose="00020600040101010101" pitchFamily="18" charset="-122"/>
              <a:cs typeface="Open Sans" pitchFamily="34" charset="0"/>
              <a:sym typeface="汉仪正圆-55W" panose="00020600040101010101" pitchFamily="18" charset="-122"/>
            </a:endParaRPr>
          </a:p>
        </p:txBody>
      </p:sp>
      <p:sp>
        <p:nvSpPr>
          <p:cNvPr id="73" name="深度视觉·原创设计 https://www.docer.com/works?userid=22383862"/>
          <p:cNvSpPr/>
          <p:nvPr/>
        </p:nvSpPr>
        <p:spPr>
          <a:xfrm>
            <a:off x="8677020" y="4858702"/>
            <a:ext cx="2009488" cy="8399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lnSpc>
                <a:spcPts val="2000"/>
              </a:lnSpc>
              <a:defRPr/>
            </a:pPr>
            <a:r>
              <a:rPr lang="zh-CN" altLang="en-US" sz="1100" dirty="0">
                <a:solidFill>
                  <a:schemeClr val="bg1">
                    <a:lumMod val="50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请在此处添加具体内容，文字尽量言简意赅，简单说明即可，不必过于繁琐</a:t>
            </a:r>
            <a:endParaRPr lang="zh-CN" altLang="en-US" sz="1100" dirty="0">
              <a:solidFill>
                <a:schemeClr val="bg1">
                  <a:lumMod val="50000"/>
                </a:schemeClr>
              </a:solidFill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74" name="深度视觉·原创设计 https://www.docer.com/works?userid=22383862"/>
          <p:cNvSpPr/>
          <p:nvPr/>
        </p:nvSpPr>
        <p:spPr>
          <a:xfrm>
            <a:off x="8677020" y="4537459"/>
            <a:ext cx="1092141" cy="3371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600" b="1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汉仪正圆-55W" panose="00020600040101010101" pitchFamily="18" charset="-122"/>
                <a:ea typeface="汉仪正圆-55W" panose="00020600040101010101" pitchFamily="18" charset="-122"/>
                <a:cs typeface="Open Sans" pitchFamily="34" charset="0"/>
                <a:sym typeface="汉仪正圆-55W" panose="00020600040101010101" pitchFamily="18" charset="-122"/>
              </a:rPr>
              <a:t>添加标题</a:t>
            </a:r>
            <a:endParaRPr kumimoji="0" lang="zh-CN" altLang="en-US" sz="16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汉仪正圆-55W" panose="00020600040101010101" pitchFamily="18" charset="-122"/>
              <a:ea typeface="汉仪正圆-55W" panose="00020600040101010101" pitchFamily="18" charset="-122"/>
              <a:cs typeface="Open Sans" pitchFamily="34" charset="0"/>
              <a:sym typeface="汉仪正圆-55W" panose="00020600040101010101" pitchFamily="18" charset="-122"/>
            </a:endParaRPr>
          </a:p>
        </p:txBody>
      </p:sp>
      <p:sp>
        <p:nvSpPr>
          <p:cNvPr id="75" name="深度视觉·原创设计 https://www.docer.com/works?userid=22383862"/>
          <p:cNvSpPr/>
          <p:nvPr/>
        </p:nvSpPr>
        <p:spPr>
          <a:xfrm>
            <a:off x="746747" y="4610914"/>
            <a:ext cx="2009488" cy="8399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>
              <a:lnSpc>
                <a:spcPts val="2000"/>
              </a:lnSpc>
              <a:defRPr/>
            </a:pPr>
            <a:r>
              <a:rPr lang="zh-CN" altLang="en-US" sz="1100" dirty="0">
                <a:solidFill>
                  <a:schemeClr val="bg1">
                    <a:lumMod val="50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请在此处添加具体内容，文字尽量言简意赅，简单说明即可，不必过于繁琐</a:t>
            </a:r>
            <a:endParaRPr lang="zh-CN" altLang="en-US" sz="1100" dirty="0">
              <a:solidFill>
                <a:schemeClr val="bg1">
                  <a:lumMod val="50000"/>
                </a:schemeClr>
              </a:solidFill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76" name="深度视觉·原创设计 https://www.docer.com/works?userid=22383862"/>
          <p:cNvSpPr/>
          <p:nvPr/>
        </p:nvSpPr>
        <p:spPr>
          <a:xfrm>
            <a:off x="1663718" y="4289671"/>
            <a:ext cx="1092141" cy="3371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600" b="1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汉仪正圆-55W" panose="00020600040101010101" pitchFamily="18" charset="-122"/>
                <a:ea typeface="汉仪正圆-55W" panose="00020600040101010101" pitchFamily="18" charset="-122"/>
                <a:cs typeface="Open Sans" pitchFamily="34" charset="0"/>
                <a:sym typeface="汉仪正圆-55W" panose="00020600040101010101" pitchFamily="18" charset="-122"/>
              </a:rPr>
              <a:t>添加标题</a:t>
            </a:r>
            <a:endParaRPr kumimoji="0" lang="zh-CN" altLang="en-US" sz="16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汉仪正圆-55W" panose="00020600040101010101" pitchFamily="18" charset="-122"/>
              <a:ea typeface="汉仪正圆-55W" panose="00020600040101010101" pitchFamily="18" charset="-122"/>
              <a:cs typeface="Open Sans" pitchFamily="34" charset="0"/>
              <a:sym typeface="汉仪正圆-55W" panose="00020600040101010101" pitchFamily="18" charset="-122"/>
            </a:endParaRPr>
          </a:p>
        </p:txBody>
      </p:sp>
      <p:sp>
        <p:nvSpPr>
          <p:cNvPr id="77" name="深度视觉·原创设计 https://www.docer.com/works?userid=22383862"/>
          <p:cNvSpPr/>
          <p:nvPr/>
        </p:nvSpPr>
        <p:spPr>
          <a:xfrm>
            <a:off x="537174" y="1994616"/>
            <a:ext cx="2009488" cy="8399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>
              <a:lnSpc>
                <a:spcPts val="2000"/>
              </a:lnSpc>
              <a:defRPr/>
            </a:pPr>
            <a:r>
              <a:rPr lang="zh-CN" altLang="en-US" sz="1100" dirty="0">
                <a:solidFill>
                  <a:schemeClr val="bg1">
                    <a:lumMod val="50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请在此处添加具体内容，文字尽量言简意赅，简单说明即可，不必过于繁琐</a:t>
            </a:r>
            <a:endParaRPr lang="zh-CN" altLang="en-US" sz="1100" dirty="0">
              <a:solidFill>
                <a:schemeClr val="bg1">
                  <a:lumMod val="50000"/>
                </a:schemeClr>
              </a:solidFill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78" name="深度视觉·原创设计 https://www.docer.com/works?userid=22383862"/>
          <p:cNvSpPr/>
          <p:nvPr/>
        </p:nvSpPr>
        <p:spPr>
          <a:xfrm>
            <a:off x="1454145" y="1673373"/>
            <a:ext cx="1092141" cy="3371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600" b="1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汉仪正圆-55W" panose="00020600040101010101" pitchFamily="18" charset="-122"/>
                <a:ea typeface="汉仪正圆-55W" panose="00020600040101010101" pitchFamily="18" charset="-122"/>
                <a:cs typeface="Open Sans" pitchFamily="34" charset="0"/>
                <a:sym typeface="汉仪正圆-55W" panose="00020600040101010101" pitchFamily="18" charset="-122"/>
              </a:rPr>
              <a:t>添加标题</a:t>
            </a:r>
            <a:endParaRPr kumimoji="0" lang="zh-CN" altLang="en-US" sz="16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汉仪正圆-55W" panose="00020600040101010101" pitchFamily="18" charset="-122"/>
              <a:ea typeface="汉仪正圆-55W" panose="00020600040101010101" pitchFamily="18" charset="-122"/>
              <a:cs typeface="Open Sans" pitchFamily="34" charset="0"/>
              <a:sym typeface="汉仪正圆-55W" panose="00020600040101010101" pitchFamily="18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000"/>
                            </p:stCondLst>
                            <p:childTnLst>
                              <p:par>
                                <p:cTn id="27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3000"/>
                            </p:stCondLst>
                            <p:childTnLst>
                              <p:par>
                                <p:cTn id="38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10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3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10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1" grpId="0"/>
      <p:bldP spid="72" grpId="0"/>
      <p:bldP spid="73" grpId="0"/>
      <p:bldP spid="74" grpId="0"/>
      <p:bldP spid="75" grpId="0"/>
      <p:bldP spid="76" grpId="0"/>
      <p:bldP spid="77" grpId="0"/>
      <p:bldP spid="78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深度视觉·原创设计 https://www.docer.com/works?userid=22383862"/>
          <p:cNvSpPr/>
          <p:nvPr/>
        </p:nvSpPr>
        <p:spPr>
          <a:xfrm flipH="1">
            <a:off x="11252019" y="5989229"/>
            <a:ext cx="939981" cy="868771"/>
          </a:xfrm>
          <a:prstGeom prst="corner">
            <a:avLst>
              <a:gd name="adj1" fmla="val 17397"/>
              <a:gd name="adj2" fmla="val 16614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17" name="深度视觉·原创设计 https://www.docer.com/works?userid=22383862"/>
          <p:cNvSpPr/>
          <p:nvPr/>
        </p:nvSpPr>
        <p:spPr>
          <a:xfrm rot="10800000" flipH="1">
            <a:off x="0" y="0"/>
            <a:ext cx="939981" cy="868771"/>
          </a:xfrm>
          <a:prstGeom prst="corner">
            <a:avLst>
              <a:gd name="adj1" fmla="val 17397"/>
              <a:gd name="adj2" fmla="val 16614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18" name="深度视觉·原创设计 https://www.docer.com/works?userid=22383862"/>
          <p:cNvSpPr/>
          <p:nvPr/>
        </p:nvSpPr>
        <p:spPr>
          <a:xfrm>
            <a:off x="4535714" y="350796"/>
            <a:ext cx="3120572" cy="51797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19" name="深度视觉·原创设计 https://www.docer.com/works?userid=22383862"/>
          <p:cNvSpPr txBox="1"/>
          <p:nvPr/>
        </p:nvSpPr>
        <p:spPr>
          <a:xfrm>
            <a:off x="4966459" y="455895"/>
            <a:ext cx="2259081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2000" spc="300" dirty="0">
                <a:solidFill>
                  <a:schemeClr val="tx1">
                    <a:lumMod val="75000"/>
                    <a:lumOff val="25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cs typeface="Alibaba PuHuiTi" pitchFamily="18" charset="-122"/>
                <a:sym typeface="汉仪正圆-55W" panose="00020600040101010101" pitchFamily="18" charset="-122"/>
              </a:rPr>
              <a:t>输入您的标题</a:t>
            </a:r>
            <a:endParaRPr kumimoji="0" lang="zh-CN" altLang="en-US" sz="2000" i="0" u="none" strike="noStrike" kern="1200" cap="none" spc="30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汉仪正圆-55W" panose="00020600040101010101" pitchFamily="18" charset="-122"/>
              <a:ea typeface="汉仪正圆-55W" panose="00020600040101010101" pitchFamily="18" charset="-122"/>
              <a:cs typeface="Alibaba PuHuiTi" pitchFamily="18" charset="-122"/>
              <a:sym typeface="汉仪正圆-55W" panose="00020600040101010101" pitchFamily="18" charset="-122"/>
            </a:endParaRPr>
          </a:p>
        </p:txBody>
      </p:sp>
      <p:cxnSp>
        <p:nvCxnSpPr>
          <p:cNvPr id="2" name="深度视觉·原创设计 https://www.docer.com/works?userid=22383862"/>
          <p:cNvCxnSpPr/>
          <p:nvPr/>
        </p:nvCxnSpPr>
        <p:spPr>
          <a:xfrm>
            <a:off x="9465276" y="-99083"/>
            <a:ext cx="0" cy="2744872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深度视觉·原创设计 https://www.docer.com/works?userid=22383862"/>
          <p:cNvCxnSpPr/>
          <p:nvPr/>
        </p:nvCxnSpPr>
        <p:spPr>
          <a:xfrm>
            <a:off x="2310307" y="2500185"/>
            <a:ext cx="7216346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深度视觉·原创设计 https://www.docer.com/works?userid=22383862"/>
          <p:cNvSpPr/>
          <p:nvPr/>
        </p:nvSpPr>
        <p:spPr>
          <a:xfrm>
            <a:off x="9074457" y="2091239"/>
            <a:ext cx="800242" cy="80024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5" name="深度视觉·原创设计 https://www.docer.com/works?userid=22383862"/>
          <p:cNvSpPr/>
          <p:nvPr/>
        </p:nvSpPr>
        <p:spPr>
          <a:xfrm>
            <a:off x="5538864" y="2091239"/>
            <a:ext cx="800242" cy="800242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6" name="深度视觉·原创设计 https://www.docer.com/works?userid=22383862"/>
          <p:cNvSpPr/>
          <p:nvPr/>
        </p:nvSpPr>
        <p:spPr>
          <a:xfrm>
            <a:off x="1962261" y="2091239"/>
            <a:ext cx="800242" cy="80024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7" name="深度视觉·原创设计 https://www.docer.com/works?userid=22383862"/>
          <p:cNvSpPr txBox="1"/>
          <p:nvPr/>
        </p:nvSpPr>
        <p:spPr>
          <a:xfrm>
            <a:off x="9210723" y="2258684"/>
            <a:ext cx="52770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13</a:t>
            </a:r>
            <a:endParaRPr lang="en-US" sz="2400" dirty="0">
              <a:solidFill>
                <a:schemeClr val="bg1"/>
              </a:solidFill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8" name="深度视觉·原创设计 https://www.docer.com/works?userid=22383862"/>
          <p:cNvSpPr txBox="1"/>
          <p:nvPr/>
        </p:nvSpPr>
        <p:spPr>
          <a:xfrm>
            <a:off x="5695553" y="2265893"/>
            <a:ext cx="52770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14</a:t>
            </a:r>
            <a:endParaRPr lang="en-US" sz="2400" dirty="0">
              <a:solidFill>
                <a:schemeClr val="bg1"/>
              </a:solidFill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9" name="深度视觉·原创设计 https://www.docer.com/works?userid=22383862"/>
          <p:cNvSpPr txBox="1"/>
          <p:nvPr/>
        </p:nvSpPr>
        <p:spPr>
          <a:xfrm>
            <a:off x="2095880" y="2258684"/>
            <a:ext cx="52770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15</a:t>
            </a:r>
            <a:endParaRPr lang="en-US" sz="2400" dirty="0">
              <a:solidFill>
                <a:schemeClr val="bg1"/>
              </a:solidFill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10" name="深度视觉·原创设计 https://www.docer.com/works?userid=22383862"/>
          <p:cNvSpPr/>
          <p:nvPr/>
        </p:nvSpPr>
        <p:spPr>
          <a:xfrm>
            <a:off x="1905000" y="3424075"/>
            <a:ext cx="1877197" cy="8399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lnSpc>
                <a:spcPts val="2000"/>
              </a:lnSpc>
              <a:defRPr/>
            </a:pPr>
            <a:r>
              <a:rPr lang="zh-CN" altLang="en-US" sz="1100" dirty="0">
                <a:solidFill>
                  <a:schemeClr val="bg1">
                    <a:lumMod val="50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请在此处添加具体内容，文字尽量言简意赅，简单说明即可，不必过于繁琐</a:t>
            </a:r>
            <a:endParaRPr lang="zh-CN" altLang="en-US" sz="1100" dirty="0">
              <a:solidFill>
                <a:schemeClr val="bg1">
                  <a:lumMod val="50000"/>
                </a:schemeClr>
              </a:solidFill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11" name="深度视觉·原创设计 https://www.docer.com/works?userid=22383862"/>
          <p:cNvSpPr/>
          <p:nvPr/>
        </p:nvSpPr>
        <p:spPr>
          <a:xfrm>
            <a:off x="1905000" y="3113846"/>
            <a:ext cx="1092141" cy="3371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600" b="1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汉仪正圆-55W" panose="00020600040101010101" pitchFamily="18" charset="-122"/>
                <a:ea typeface="汉仪正圆-55W" panose="00020600040101010101" pitchFamily="18" charset="-122"/>
                <a:cs typeface="Open Sans" pitchFamily="34" charset="0"/>
                <a:sym typeface="汉仪正圆-55W" panose="00020600040101010101" pitchFamily="18" charset="-122"/>
              </a:rPr>
              <a:t>添加标题</a:t>
            </a:r>
            <a:endParaRPr kumimoji="0" lang="zh-CN" altLang="en-US" sz="16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汉仪正圆-55W" panose="00020600040101010101" pitchFamily="18" charset="-122"/>
              <a:ea typeface="汉仪正圆-55W" panose="00020600040101010101" pitchFamily="18" charset="-122"/>
              <a:cs typeface="Open Sans" pitchFamily="34" charset="0"/>
              <a:sym typeface="汉仪正圆-55W" panose="00020600040101010101" pitchFamily="18" charset="-122"/>
            </a:endParaRPr>
          </a:p>
        </p:txBody>
      </p:sp>
      <p:sp>
        <p:nvSpPr>
          <p:cNvPr id="12" name="深度视觉·原创设计 https://www.docer.com/works?userid=22383862"/>
          <p:cNvSpPr/>
          <p:nvPr/>
        </p:nvSpPr>
        <p:spPr>
          <a:xfrm>
            <a:off x="5400507" y="3424075"/>
            <a:ext cx="1877197" cy="8399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lnSpc>
                <a:spcPts val="2000"/>
              </a:lnSpc>
              <a:defRPr/>
            </a:pPr>
            <a:r>
              <a:rPr lang="zh-CN" altLang="en-US" sz="1100" dirty="0">
                <a:solidFill>
                  <a:schemeClr val="bg1">
                    <a:lumMod val="50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请在此处添加具体内容，文字尽量言简意赅，简单说明即可，不必过于繁琐</a:t>
            </a:r>
            <a:endParaRPr lang="zh-CN" altLang="en-US" sz="1100" dirty="0">
              <a:solidFill>
                <a:schemeClr val="bg1">
                  <a:lumMod val="50000"/>
                </a:schemeClr>
              </a:solidFill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13" name="深度视觉·原创设计 https://www.docer.com/works?userid=22383862"/>
          <p:cNvSpPr/>
          <p:nvPr/>
        </p:nvSpPr>
        <p:spPr>
          <a:xfrm>
            <a:off x="5400507" y="3113846"/>
            <a:ext cx="1092141" cy="3371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600" b="1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汉仪正圆-55W" panose="00020600040101010101" pitchFamily="18" charset="-122"/>
                <a:ea typeface="汉仪正圆-55W" panose="00020600040101010101" pitchFamily="18" charset="-122"/>
                <a:cs typeface="Open Sans" pitchFamily="34" charset="0"/>
                <a:sym typeface="汉仪正圆-55W" panose="00020600040101010101" pitchFamily="18" charset="-122"/>
              </a:rPr>
              <a:t>添加标题</a:t>
            </a:r>
            <a:endParaRPr kumimoji="0" lang="zh-CN" altLang="en-US" sz="16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汉仪正圆-55W" panose="00020600040101010101" pitchFamily="18" charset="-122"/>
              <a:ea typeface="汉仪正圆-55W" panose="00020600040101010101" pitchFamily="18" charset="-122"/>
              <a:cs typeface="Open Sans" pitchFamily="34" charset="0"/>
              <a:sym typeface="汉仪正圆-55W" panose="00020600040101010101" pitchFamily="18" charset="-122"/>
            </a:endParaRPr>
          </a:p>
        </p:txBody>
      </p:sp>
      <p:sp>
        <p:nvSpPr>
          <p:cNvPr id="14" name="深度视觉·原创设计 https://www.docer.com/works?userid=22383862"/>
          <p:cNvSpPr/>
          <p:nvPr/>
        </p:nvSpPr>
        <p:spPr>
          <a:xfrm>
            <a:off x="8936100" y="3424075"/>
            <a:ext cx="1877197" cy="8399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lnSpc>
                <a:spcPts val="2000"/>
              </a:lnSpc>
              <a:defRPr/>
            </a:pPr>
            <a:r>
              <a:rPr lang="zh-CN" altLang="en-US" sz="1100" dirty="0">
                <a:solidFill>
                  <a:schemeClr val="bg1">
                    <a:lumMod val="50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请在此处添加具体内容，文字尽量言简意赅，简单说明即可，不必过于繁琐</a:t>
            </a:r>
            <a:endParaRPr lang="zh-CN" altLang="en-US" sz="1100" dirty="0">
              <a:solidFill>
                <a:schemeClr val="bg1">
                  <a:lumMod val="50000"/>
                </a:schemeClr>
              </a:solidFill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15" name="深度视觉·原创设计 https://www.docer.com/works?userid=22383862"/>
          <p:cNvSpPr/>
          <p:nvPr/>
        </p:nvSpPr>
        <p:spPr>
          <a:xfrm>
            <a:off x="8936100" y="3113846"/>
            <a:ext cx="1092141" cy="3371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600" b="1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汉仪正圆-55W" panose="00020600040101010101" pitchFamily="18" charset="-122"/>
                <a:ea typeface="汉仪正圆-55W" panose="00020600040101010101" pitchFamily="18" charset="-122"/>
                <a:cs typeface="Open Sans" pitchFamily="34" charset="0"/>
                <a:sym typeface="汉仪正圆-55W" panose="00020600040101010101" pitchFamily="18" charset="-122"/>
              </a:rPr>
              <a:t>添加标题</a:t>
            </a:r>
            <a:endParaRPr kumimoji="0" lang="zh-CN" altLang="en-US" sz="16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汉仪正圆-55W" panose="00020600040101010101" pitchFamily="18" charset="-122"/>
              <a:ea typeface="汉仪正圆-55W" panose="00020600040101010101" pitchFamily="18" charset="-122"/>
              <a:cs typeface="Open Sans" pitchFamily="34" charset="0"/>
              <a:sym typeface="汉仪正圆-55W" panose="00020600040101010101" pitchFamily="18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000"/>
                            </p:stCondLst>
                            <p:childTnLst>
                              <p:par>
                                <p:cTn id="27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1" grpId="0"/>
      <p:bldP spid="12" grpId="0"/>
      <p:bldP spid="13" grpId="0"/>
      <p:bldP spid="14" grpId="0"/>
      <p:bldP spid="15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深度视觉·原创设计 https://www.docer.com/works?userid=22383862"/>
          <p:cNvSpPr/>
          <p:nvPr/>
        </p:nvSpPr>
        <p:spPr>
          <a:xfrm flipH="1">
            <a:off x="11252019" y="5989229"/>
            <a:ext cx="939981" cy="868771"/>
          </a:xfrm>
          <a:prstGeom prst="corner">
            <a:avLst>
              <a:gd name="adj1" fmla="val 17397"/>
              <a:gd name="adj2" fmla="val 16614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7" name="深度视觉·原创设计 https://www.docer.com/works?userid=22383862"/>
          <p:cNvSpPr/>
          <p:nvPr/>
        </p:nvSpPr>
        <p:spPr>
          <a:xfrm rot="10800000" flipH="1">
            <a:off x="0" y="0"/>
            <a:ext cx="939981" cy="868771"/>
          </a:xfrm>
          <a:prstGeom prst="corner">
            <a:avLst>
              <a:gd name="adj1" fmla="val 17397"/>
              <a:gd name="adj2" fmla="val 16614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8" name="深度视觉·原创设计 https://www.docer.com/works?userid=22383862"/>
          <p:cNvSpPr/>
          <p:nvPr/>
        </p:nvSpPr>
        <p:spPr>
          <a:xfrm>
            <a:off x="4535714" y="350796"/>
            <a:ext cx="3120572" cy="51797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9" name="深度视觉·原创设计 https://www.docer.com/works?userid=22383862"/>
          <p:cNvSpPr txBox="1"/>
          <p:nvPr/>
        </p:nvSpPr>
        <p:spPr>
          <a:xfrm>
            <a:off x="4966459" y="455895"/>
            <a:ext cx="2259081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2000" spc="300" dirty="0">
                <a:solidFill>
                  <a:schemeClr val="tx1">
                    <a:lumMod val="75000"/>
                    <a:lumOff val="25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cs typeface="Alibaba PuHuiTi" pitchFamily="18" charset="-122"/>
                <a:sym typeface="汉仪正圆-55W" panose="00020600040101010101" pitchFamily="18" charset="-122"/>
              </a:rPr>
              <a:t>输入您的标题</a:t>
            </a:r>
            <a:endParaRPr kumimoji="0" lang="zh-CN" altLang="en-US" sz="2000" i="0" u="none" strike="noStrike" kern="1200" cap="none" spc="30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汉仪正圆-55W" panose="00020600040101010101" pitchFamily="18" charset="-122"/>
              <a:ea typeface="汉仪正圆-55W" panose="00020600040101010101" pitchFamily="18" charset="-122"/>
              <a:cs typeface="Alibaba PuHuiTi" pitchFamily="18" charset="-122"/>
              <a:sym typeface="汉仪正圆-55W" panose="00020600040101010101" pitchFamily="18" charset="-122"/>
            </a:endParaRPr>
          </a:p>
        </p:txBody>
      </p:sp>
      <p:graphicFrame>
        <p:nvGraphicFramePr>
          <p:cNvPr id="2" name="深度视觉·原创设计 https://www.docer.com/works?userid=22383862"/>
          <p:cNvGraphicFramePr/>
          <p:nvPr/>
        </p:nvGraphicFramePr>
        <p:xfrm>
          <a:off x="5791200" y="1308646"/>
          <a:ext cx="5230761" cy="45455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3" name="深度视觉·原创设计 https://www.docer.com/works?userid=22383862"/>
          <p:cNvSpPr txBox="1"/>
          <p:nvPr/>
        </p:nvSpPr>
        <p:spPr>
          <a:xfrm>
            <a:off x="1629901" y="1992259"/>
            <a:ext cx="4161299" cy="553998"/>
          </a:xfrm>
          <a:prstGeom prst="rect">
            <a:avLst/>
          </a:prstGeom>
          <a:noFill/>
        </p:spPr>
        <p:txBody>
          <a:bodyPr wrap="square" lIns="91423" tIns="0" rIns="91423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3600" b="1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汉仪正圆-55W" panose="00020600040101010101" pitchFamily="18" charset="-122"/>
                <a:ea typeface="汉仪正圆-55W" panose="00020600040101010101" pitchFamily="18" charset="-122"/>
                <a:cs typeface="Open Sans" pitchFamily="34" charset="0"/>
                <a:sym typeface="汉仪正圆-55W" panose="00020600040101010101" pitchFamily="18" charset="-122"/>
              </a:rPr>
              <a:t>添加标题</a:t>
            </a:r>
            <a:endParaRPr kumimoji="0" lang="zh-CN" altLang="en-US" sz="36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汉仪正圆-55W" panose="00020600040101010101" pitchFamily="18" charset="-122"/>
              <a:ea typeface="汉仪正圆-55W" panose="00020600040101010101" pitchFamily="18" charset="-122"/>
              <a:cs typeface="Open Sans" pitchFamily="34" charset="0"/>
              <a:sym typeface="汉仪正圆-55W" panose="00020600040101010101" pitchFamily="18" charset="-122"/>
            </a:endParaRPr>
          </a:p>
        </p:txBody>
      </p:sp>
      <p:sp>
        <p:nvSpPr>
          <p:cNvPr id="4" name="深度视觉·原创设计 https://www.docer.com/works?userid=22383862"/>
          <p:cNvSpPr txBox="1"/>
          <p:nvPr/>
        </p:nvSpPr>
        <p:spPr>
          <a:xfrm>
            <a:off x="1629900" y="3193473"/>
            <a:ext cx="3427009" cy="1670056"/>
          </a:xfrm>
          <a:prstGeom prst="rect">
            <a:avLst/>
          </a:prstGeom>
          <a:noFill/>
        </p:spPr>
        <p:txBody>
          <a:bodyPr wrap="square" lIns="91423" tIns="45712" rIns="91423" bIns="45712" rtlCol="0">
            <a:spAutoFit/>
          </a:bodyPr>
          <a:lstStyle/>
          <a:p>
            <a:pPr marL="0" marR="0" lvl="0" indent="0" algn="l" defTabSz="121793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400" dirty="0">
                <a:solidFill>
                  <a:schemeClr val="bg1">
                    <a:lumMod val="50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请在此处添加具体内容，文字尽量言简意赅，简单说明即可，不必过于繁琐，注意板面美观度。请在此处添加具体内容，文字尽量言简意赅，简单说明即可，不必过于繁琐，注意板面美观度。</a:t>
            </a:r>
            <a:endParaRPr kumimoji="0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5" name="深度视觉·原创设计 https://www.docer.com/works?userid=22383862"/>
          <p:cNvSpPr txBox="1"/>
          <p:nvPr/>
        </p:nvSpPr>
        <p:spPr>
          <a:xfrm>
            <a:off x="1629901" y="2546257"/>
            <a:ext cx="3183654" cy="4748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b="0" i="0" u="none" strike="noStrike" cap="none">
                <a:solidFill>
                  <a:schemeClr val="accent2"/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cs typeface="Lato"/>
                <a:sym typeface="汉仪正圆-55W" panose="00020600040101010101" pitchFamily="18" charset="-122"/>
              </a:rPr>
              <a:t>YOUR TITLE HERE</a:t>
            </a:r>
            <a:endParaRPr sz="2400" b="0" i="0" u="none" strike="noStrike" cap="none">
              <a:solidFill>
                <a:schemeClr val="accent2"/>
              </a:solidFill>
              <a:latin typeface="汉仪正圆-55W" panose="00020600040101010101" pitchFamily="18" charset="-122"/>
              <a:ea typeface="汉仪正圆-55W" panose="00020600040101010101" pitchFamily="18" charset="-122"/>
              <a:cs typeface="Lato"/>
              <a:sym typeface="汉仪正圆-55W" panose="00020600040101010101" pitchFamily="18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4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深度视觉·原创设计 https://www.docer.com/works?userid=22383862"/>
          <p:cNvSpPr/>
          <p:nvPr/>
        </p:nvSpPr>
        <p:spPr>
          <a:xfrm flipH="1">
            <a:off x="4321628" y="5188857"/>
            <a:ext cx="942238" cy="870857"/>
          </a:xfrm>
          <a:prstGeom prst="corner">
            <a:avLst>
              <a:gd name="adj1" fmla="val 17397"/>
              <a:gd name="adj2" fmla="val 16614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3" name="深度视觉·原创设计 https://www.docer.com/works?userid=22383862"/>
          <p:cNvSpPr/>
          <p:nvPr/>
        </p:nvSpPr>
        <p:spPr>
          <a:xfrm rot="10800000" flipH="1">
            <a:off x="1001486" y="798285"/>
            <a:ext cx="942238" cy="870857"/>
          </a:xfrm>
          <a:prstGeom prst="corner">
            <a:avLst>
              <a:gd name="adj1" fmla="val 17397"/>
              <a:gd name="adj2" fmla="val 16614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4" name="深度视觉·原创设计 https://www.docer.com/works?userid=22383862"/>
          <p:cNvSpPr/>
          <p:nvPr/>
        </p:nvSpPr>
        <p:spPr>
          <a:xfrm>
            <a:off x="1364342" y="1233714"/>
            <a:ext cx="3497944" cy="439057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5" name="深度视觉·原创设计 https://www.docer.com/works?userid=22383862"/>
          <p:cNvSpPr/>
          <p:nvPr/>
        </p:nvSpPr>
        <p:spPr>
          <a:xfrm>
            <a:off x="1524001" y="3588821"/>
            <a:ext cx="3178628" cy="461664"/>
          </a:xfrm>
          <a:prstGeom prst="roundRect">
            <a:avLst>
              <a:gd name="adj" fmla="val 2593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6" name="深度视觉·原创设计 https://www.docer.com/works?userid=22383862"/>
          <p:cNvSpPr txBox="1"/>
          <p:nvPr/>
        </p:nvSpPr>
        <p:spPr>
          <a:xfrm>
            <a:off x="1857829" y="2104572"/>
            <a:ext cx="252548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7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目录</a:t>
            </a:r>
            <a:endParaRPr lang="zh-CN" altLang="en-US" sz="7200" b="1" dirty="0">
              <a:solidFill>
                <a:schemeClr val="tx1">
                  <a:lumMod val="75000"/>
                  <a:lumOff val="25000"/>
                </a:schemeClr>
              </a:solidFill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7" name="深度视觉·原创设计 https://www.docer.com/works?userid=22383862"/>
          <p:cNvSpPr txBox="1"/>
          <p:nvPr/>
        </p:nvSpPr>
        <p:spPr>
          <a:xfrm>
            <a:off x="1857829" y="3588820"/>
            <a:ext cx="252548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en-US" altLang="zh-CN" sz="2400" dirty="0">
                <a:solidFill>
                  <a:schemeClr val="bg1"/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cs typeface="阿里巴巴普惠体 Light" panose="00020600040101010101" pitchFamily="18" charset="-122"/>
                <a:sym typeface="汉仪正圆-55W" panose="00020600040101010101" pitchFamily="18" charset="-122"/>
              </a:rPr>
              <a:t>CONTENT</a:t>
            </a:r>
            <a:endParaRPr lang="zh-CN" altLang="en-US" sz="2400" dirty="0">
              <a:solidFill>
                <a:schemeClr val="bg1"/>
              </a:solidFill>
              <a:latin typeface="汉仪正圆-55W" panose="00020600040101010101" pitchFamily="18" charset="-122"/>
              <a:ea typeface="汉仪正圆-55W" panose="00020600040101010101" pitchFamily="18" charset="-122"/>
              <a:cs typeface="阿里巴巴普惠体 Light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8" name="深度视觉·原创设计 https://www.docer.com/works?userid=22383862"/>
          <p:cNvSpPr/>
          <p:nvPr/>
        </p:nvSpPr>
        <p:spPr>
          <a:xfrm>
            <a:off x="6313715" y="1366113"/>
            <a:ext cx="781050" cy="781050"/>
          </a:xfrm>
          <a:prstGeom prst="octago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400" dirty="0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01</a:t>
            </a:r>
            <a:endParaRPr lang="zh-CN" altLang="en-US" sz="2400" dirty="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9" name="深度视觉·原创设计 https://www.docer.com/works?userid=22383862"/>
          <p:cNvSpPr txBox="1"/>
          <p:nvPr/>
        </p:nvSpPr>
        <p:spPr>
          <a:xfrm>
            <a:off x="7228115" y="1367999"/>
            <a:ext cx="36195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>
                <a:solidFill>
                  <a:schemeClr val="tx1">
                    <a:lumMod val="75000"/>
                    <a:lumOff val="25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阶段工作概述</a:t>
            </a:r>
            <a:endParaRPr lang="zh-CN" altLang="en-US" sz="2800" dirty="0">
              <a:solidFill>
                <a:schemeClr val="tx1">
                  <a:lumMod val="75000"/>
                  <a:lumOff val="25000"/>
                </a:schemeClr>
              </a:solidFill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10" name="深度视觉·原创设计 https://www.docer.com/works?userid=22383862"/>
          <p:cNvSpPr txBox="1"/>
          <p:nvPr/>
        </p:nvSpPr>
        <p:spPr>
          <a:xfrm flipH="1">
            <a:off x="7255192" y="1837349"/>
            <a:ext cx="3640548" cy="3185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200">
              <a:lnSpc>
                <a:spcPct val="130000"/>
              </a:lnSpc>
            </a:pPr>
            <a:r>
              <a:rPr lang="en-US" altLang="zh-CN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The harder you work, the luckier you will be.</a:t>
            </a:r>
            <a:endParaRPr lang="en-US" altLang="zh-CN" sz="1200" dirty="0">
              <a:solidFill>
                <a:schemeClr val="tx1">
                  <a:lumMod val="75000"/>
                  <a:lumOff val="25000"/>
                </a:schemeClr>
              </a:solidFill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11" name="深度视觉·原创设计 https://www.docer.com/works?userid=22383862"/>
          <p:cNvSpPr/>
          <p:nvPr/>
        </p:nvSpPr>
        <p:spPr>
          <a:xfrm>
            <a:off x="6313715" y="2521144"/>
            <a:ext cx="781050" cy="781050"/>
          </a:xfrm>
          <a:prstGeom prst="octagon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400" dirty="0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02</a:t>
            </a:r>
            <a:endParaRPr lang="zh-CN" altLang="en-US" sz="2400" dirty="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12" name="深度视觉·原创设计 https://www.docer.com/works?userid=22383862"/>
          <p:cNvSpPr txBox="1"/>
          <p:nvPr/>
        </p:nvSpPr>
        <p:spPr>
          <a:xfrm>
            <a:off x="7228115" y="2523030"/>
            <a:ext cx="36195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>
                <a:solidFill>
                  <a:schemeClr val="tx1">
                    <a:lumMod val="75000"/>
                    <a:lumOff val="25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工作完成进度</a:t>
            </a:r>
            <a:endParaRPr lang="zh-CN" altLang="en-US" sz="2800" dirty="0">
              <a:solidFill>
                <a:schemeClr val="tx1">
                  <a:lumMod val="75000"/>
                  <a:lumOff val="25000"/>
                </a:schemeClr>
              </a:solidFill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13" name="深度视觉·原创设计 https://www.docer.com/works?userid=22383862"/>
          <p:cNvSpPr txBox="1"/>
          <p:nvPr/>
        </p:nvSpPr>
        <p:spPr>
          <a:xfrm flipH="1">
            <a:off x="7255192" y="2992380"/>
            <a:ext cx="3640548" cy="3185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200">
              <a:lnSpc>
                <a:spcPct val="130000"/>
              </a:lnSpc>
            </a:pPr>
            <a:r>
              <a:rPr lang="en-US" altLang="zh-CN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The harder you work, the luckier you will be.</a:t>
            </a:r>
            <a:endParaRPr lang="en-US" altLang="zh-CN" sz="1200" dirty="0">
              <a:solidFill>
                <a:schemeClr val="tx1">
                  <a:lumMod val="75000"/>
                  <a:lumOff val="25000"/>
                </a:schemeClr>
              </a:solidFill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14" name="深度视觉·原创设计 https://www.docer.com/works?userid=22383862"/>
          <p:cNvSpPr/>
          <p:nvPr/>
        </p:nvSpPr>
        <p:spPr>
          <a:xfrm>
            <a:off x="6313715" y="3676175"/>
            <a:ext cx="781050" cy="781050"/>
          </a:xfrm>
          <a:prstGeom prst="octago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400" dirty="0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03</a:t>
            </a:r>
            <a:endParaRPr lang="zh-CN" altLang="en-US" sz="2400" dirty="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15" name="深度视觉·原创设计 https://www.docer.com/works?userid=22383862"/>
          <p:cNvSpPr txBox="1"/>
          <p:nvPr/>
        </p:nvSpPr>
        <p:spPr>
          <a:xfrm>
            <a:off x="7228115" y="3678061"/>
            <a:ext cx="36195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>
                <a:solidFill>
                  <a:schemeClr val="tx1">
                    <a:lumMod val="75000"/>
                    <a:lumOff val="25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项目成果展示</a:t>
            </a:r>
            <a:endParaRPr lang="zh-CN" altLang="en-US" sz="2800" dirty="0">
              <a:solidFill>
                <a:schemeClr val="tx1">
                  <a:lumMod val="75000"/>
                  <a:lumOff val="25000"/>
                </a:schemeClr>
              </a:solidFill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16" name="深度视觉·原创设计 https://www.docer.com/works?userid=22383862"/>
          <p:cNvSpPr txBox="1"/>
          <p:nvPr/>
        </p:nvSpPr>
        <p:spPr>
          <a:xfrm flipH="1">
            <a:off x="7255192" y="4147411"/>
            <a:ext cx="3640548" cy="3185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200">
              <a:lnSpc>
                <a:spcPct val="130000"/>
              </a:lnSpc>
            </a:pPr>
            <a:r>
              <a:rPr lang="en-US" altLang="zh-CN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The harder you work, the luckier you will be.</a:t>
            </a:r>
            <a:endParaRPr lang="en-US" altLang="zh-CN" sz="1200" dirty="0">
              <a:solidFill>
                <a:schemeClr val="tx1">
                  <a:lumMod val="75000"/>
                  <a:lumOff val="25000"/>
                </a:schemeClr>
              </a:solidFill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17" name="深度视觉·原创设计 https://www.docer.com/works?userid=22383862"/>
          <p:cNvSpPr/>
          <p:nvPr/>
        </p:nvSpPr>
        <p:spPr>
          <a:xfrm>
            <a:off x="6313715" y="4831206"/>
            <a:ext cx="781050" cy="781050"/>
          </a:xfrm>
          <a:prstGeom prst="octagon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400" dirty="0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04</a:t>
            </a:r>
            <a:endParaRPr lang="zh-CN" altLang="en-US" sz="2400" dirty="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18" name="深度视觉·原创设计 https://www.docer.com/works?userid=22383862"/>
          <p:cNvSpPr txBox="1"/>
          <p:nvPr/>
        </p:nvSpPr>
        <p:spPr>
          <a:xfrm>
            <a:off x="7228115" y="4833092"/>
            <a:ext cx="36195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>
                <a:solidFill>
                  <a:schemeClr val="tx1">
                    <a:lumMod val="75000"/>
                    <a:lumOff val="25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未来工作规划</a:t>
            </a:r>
            <a:endParaRPr lang="zh-CN" altLang="en-US" sz="2800" dirty="0">
              <a:solidFill>
                <a:schemeClr val="tx1">
                  <a:lumMod val="75000"/>
                  <a:lumOff val="25000"/>
                </a:schemeClr>
              </a:solidFill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19" name="深度视觉·原创设计 https://www.docer.com/works?userid=22383862"/>
          <p:cNvSpPr txBox="1"/>
          <p:nvPr/>
        </p:nvSpPr>
        <p:spPr>
          <a:xfrm flipH="1">
            <a:off x="7255192" y="5302442"/>
            <a:ext cx="3640548" cy="3185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200">
              <a:lnSpc>
                <a:spcPct val="130000"/>
              </a:lnSpc>
            </a:pPr>
            <a:r>
              <a:rPr lang="en-US" altLang="zh-CN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The harder you work, the luckier you will be.</a:t>
            </a:r>
            <a:endParaRPr lang="en-US" altLang="zh-CN" sz="1200" dirty="0">
              <a:solidFill>
                <a:schemeClr val="tx1">
                  <a:lumMod val="75000"/>
                  <a:lumOff val="25000"/>
                </a:schemeClr>
              </a:solidFill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深度视觉·原创设计 https://www.docer.com/works?userid=22383862"/>
          <p:cNvSpPr/>
          <p:nvPr/>
        </p:nvSpPr>
        <p:spPr>
          <a:xfrm flipH="1">
            <a:off x="9677400" y="4533899"/>
            <a:ext cx="2514600" cy="2324101"/>
          </a:xfrm>
          <a:prstGeom prst="corner">
            <a:avLst>
              <a:gd name="adj1" fmla="val 17397"/>
              <a:gd name="adj2" fmla="val 16614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3" name="深度视觉·原创设计 https://www.docer.com/works?userid=22383862"/>
          <p:cNvSpPr/>
          <p:nvPr/>
        </p:nvSpPr>
        <p:spPr>
          <a:xfrm rot="10800000" flipH="1">
            <a:off x="0" y="0"/>
            <a:ext cx="2514600" cy="2324101"/>
          </a:xfrm>
          <a:prstGeom prst="corner">
            <a:avLst>
              <a:gd name="adj1" fmla="val 17397"/>
              <a:gd name="adj2" fmla="val 16614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5" name="深度视觉·原创设计 https://www.docer.com/works?userid=22383862"/>
          <p:cNvSpPr/>
          <p:nvPr/>
        </p:nvSpPr>
        <p:spPr>
          <a:xfrm>
            <a:off x="682170" y="674280"/>
            <a:ext cx="10827660" cy="55094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6" name="深度视觉·原创设计 https://www.docer.com/works?userid=22383862"/>
          <p:cNvSpPr/>
          <p:nvPr/>
        </p:nvSpPr>
        <p:spPr>
          <a:xfrm>
            <a:off x="2623127" y="3580209"/>
            <a:ext cx="6945746" cy="338553"/>
          </a:xfrm>
          <a:prstGeom prst="roundRect">
            <a:avLst>
              <a:gd name="adj" fmla="val 2593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7" name="深度视觉·原创设计 https://www.docer.com/works?userid=22383862"/>
          <p:cNvSpPr txBox="1"/>
          <p:nvPr/>
        </p:nvSpPr>
        <p:spPr>
          <a:xfrm>
            <a:off x="1524000" y="2095960"/>
            <a:ext cx="91440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7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谢谢观看</a:t>
            </a:r>
            <a:endParaRPr lang="zh-CN" altLang="en-US" sz="7200" b="1" dirty="0">
              <a:solidFill>
                <a:schemeClr val="tx1">
                  <a:lumMod val="75000"/>
                  <a:lumOff val="25000"/>
                </a:schemeClr>
              </a:solidFill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8" name="深度视觉·原创设计 https://www.docer.com/works?userid=22383862"/>
          <p:cNvSpPr txBox="1"/>
          <p:nvPr/>
        </p:nvSpPr>
        <p:spPr>
          <a:xfrm>
            <a:off x="2935710" y="4261677"/>
            <a:ext cx="6320580" cy="53091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  <a:scene3d>
              <a:camera prst="orthographicFront"/>
              <a:lightRig rig="threePt" dir="t"/>
            </a:scene3d>
            <a:sp3d contourW="12700"/>
          </a:bodyPr>
          <a:lstStyle/>
          <a:p>
            <a:pPr algn="ctr">
              <a:lnSpc>
                <a:spcPct val="150000"/>
              </a:lnSpc>
            </a:pPr>
            <a:r>
              <a:rPr lang="en-US" altLang="zh-CN" sz="1200" dirty="0">
                <a:solidFill>
                  <a:schemeClr val="bg1">
                    <a:lumMod val="50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Type your content here, either by copying your text, or by text, Type your content here, either by copying your text, or by copying after the text, </a:t>
            </a:r>
            <a:endParaRPr lang="zh-CN" altLang="en-US" sz="1200" dirty="0">
              <a:solidFill>
                <a:schemeClr val="bg1">
                  <a:lumMod val="50000"/>
                </a:schemeClr>
              </a:solidFill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9" name="深度视觉·原创设计 https://www.docer.com/works?userid=22383862"/>
          <p:cNvSpPr txBox="1"/>
          <p:nvPr/>
        </p:nvSpPr>
        <p:spPr>
          <a:xfrm>
            <a:off x="3761418" y="3580208"/>
            <a:ext cx="466916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en-US" altLang="zh-CN" sz="1600" dirty="0">
                <a:solidFill>
                  <a:schemeClr val="bg1"/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cs typeface="阿里巴巴普惠体 Light" panose="00020600040101010101" pitchFamily="18" charset="-122"/>
                <a:sym typeface="汉仪正圆-55W" panose="00020600040101010101" pitchFamily="18" charset="-122"/>
              </a:rPr>
              <a:t>Work summary report</a:t>
            </a:r>
            <a:endParaRPr lang="zh-CN" altLang="en-US" sz="1600" dirty="0">
              <a:solidFill>
                <a:schemeClr val="bg1"/>
              </a:solidFill>
              <a:latin typeface="汉仪正圆-55W" panose="00020600040101010101" pitchFamily="18" charset="-122"/>
              <a:ea typeface="汉仪正圆-55W" panose="00020600040101010101" pitchFamily="18" charset="-122"/>
              <a:cs typeface="阿里巴巴普惠体 Light" panose="00020600040101010101" pitchFamily="18" charset="-122"/>
              <a:sym typeface="汉仪正圆-55W" panose="00020600040101010101" pitchFamily="18" charset="-122"/>
            </a:endParaRPr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" name="组合 28"/>
          <p:cNvGrpSpPr/>
          <p:nvPr/>
        </p:nvGrpSpPr>
        <p:grpSpPr>
          <a:xfrm>
            <a:off x="655320" y="3154680"/>
            <a:ext cx="3161665" cy="638810"/>
            <a:chOff x="1163" y="3615"/>
            <a:chExt cx="4979" cy="1006"/>
          </a:xfrm>
        </p:grpSpPr>
        <p:sp>
          <p:nvSpPr>
            <p:cNvPr id="31" name="文本框 30"/>
            <p:cNvSpPr txBox="1"/>
            <p:nvPr/>
          </p:nvSpPr>
          <p:spPr>
            <a:xfrm>
              <a:off x="1193" y="3615"/>
              <a:ext cx="2288" cy="33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zh-CN" altLang="en-US" sz="800">
                  <a:solidFill>
                    <a:srgbClr val="222222">
                      <a:alpha val="60000"/>
                    </a:srgbClr>
                  </a:solidFill>
                  <a:latin typeface="微软雅黑" panose="020B0503020204020204" charset="-122"/>
                  <a:ea typeface="微软雅黑" panose="020B0503020204020204" charset="-122"/>
                </a:rPr>
                <a:t>中文｜字体名称</a:t>
              </a:r>
              <a:endParaRPr lang="zh-CN" altLang="en-US" sz="800">
                <a:solidFill>
                  <a:srgbClr val="222222">
                    <a:alpha val="60000"/>
                  </a:srgbClr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7" name="文本框 36"/>
            <p:cNvSpPr txBox="1"/>
            <p:nvPr/>
          </p:nvSpPr>
          <p:spPr>
            <a:xfrm>
              <a:off x="1163" y="3992"/>
              <a:ext cx="4972" cy="5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/>
                <a:t>汉仪晓波敦黑</a:t>
              </a:r>
              <a:endParaRPr lang="zh-CN" altLang="en-US" sz="2000">
                <a:solidFill>
                  <a:srgbClr val="222222"/>
                </a:solidFill>
                <a:latin typeface="汉仪书魂体简" panose="02010600000101010101" charset="-122"/>
                <a:ea typeface="汉仪书魂体简" panose="02010600000101010101" charset="-122"/>
                <a:cs typeface="Microsoft YaHei Bold" panose="020B0503020204020204" charset="-122"/>
                <a:sym typeface="+mn-ea"/>
              </a:endParaRPr>
            </a:p>
          </p:txBody>
        </p:sp>
        <p:cxnSp>
          <p:nvCxnSpPr>
            <p:cNvPr id="38" name="直接连接符 37"/>
            <p:cNvCxnSpPr/>
            <p:nvPr/>
          </p:nvCxnSpPr>
          <p:spPr>
            <a:xfrm>
              <a:off x="1323" y="4621"/>
              <a:ext cx="4819" cy="0"/>
            </a:xfrm>
            <a:prstGeom prst="line">
              <a:avLst/>
            </a:prstGeom>
            <a:ln w="9525">
              <a:solidFill>
                <a:srgbClr val="222222">
                  <a:alpha val="8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" name="组合 15"/>
          <p:cNvGrpSpPr/>
          <p:nvPr userDrawn="1"/>
        </p:nvGrpSpPr>
        <p:grpSpPr>
          <a:xfrm>
            <a:off x="649605" y="2292985"/>
            <a:ext cx="3161665" cy="640080"/>
            <a:chOff x="1022" y="3613"/>
            <a:chExt cx="4979" cy="1008"/>
          </a:xfrm>
        </p:grpSpPr>
        <p:sp>
          <p:nvSpPr>
            <p:cNvPr id="18" name="文本框 17"/>
            <p:cNvSpPr txBox="1"/>
            <p:nvPr/>
          </p:nvSpPr>
          <p:spPr>
            <a:xfrm>
              <a:off x="1051" y="3613"/>
              <a:ext cx="1702" cy="344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algn="l"/>
              <a:r>
                <a:rPr lang="zh-CN" altLang="en-US" sz="800">
                  <a:solidFill>
                    <a:srgbClr val="222222">
                      <a:alpha val="60000"/>
                    </a:srgbClr>
                  </a:solidFill>
                  <a:latin typeface="微软雅黑" panose="020B0503020204020204" charset="-122"/>
                  <a:ea typeface="微软雅黑" panose="020B0503020204020204" charset="-122"/>
                </a:rPr>
                <a:t>中文｜字体名称</a:t>
              </a:r>
              <a:endParaRPr lang="zh-CN" altLang="en-US" sz="800">
                <a:solidFill>
                  <a:srgbClr val="222222">
                    <a:alpha val="60000"/>
                  </a:srgbClr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24" name="文本框 23"/>
            <p:cNvSpPr txBox="1"/>
            <p:nvPr/>
          </p:nvSpPr>
          <p:spPr>
            <a:xfrm>
              <a:off x="1022" y="3992"/>
              <a:ext cx="4972" cy="62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2000">
                  <a:solidFill>
                    <a:srgbClr val="222222"/>
                  </a:solidFill>
                  <a:latin typeface="思源黑体 CN Regular" charset="0"/>
                  <a:ea typeface="思源黑体 CN Regular" panose="020B0300000000000000" charset="-122"/>
                  <a:cs typeface="Microsoft YaHei Bold" panose="020B0503020204020204" charset="-122"/>
                  <a:sym typeface="+mn-ea"/>
                </a:rPr>
                <a:t>汉仪正圆</a:t>
              </a:r>
              <a:endParaRPr lang="zh-CN" altLang="en-US" sz="2000">
                <a:solidFill>
                  <a:srgbClr val="222222"/>
                </a:solidFill>
                <a:latin typeface="思源黑体 CN Regular" panose="020B0300000000000000" charset="-122"/>
                <a:ea typeface="思源黑体 CN Regular" panose="020B0300000000000000" charset="-122"/>
                <a:cs typeface="Microsoft YaHei Bold" panose="020B0503020204020204" charset="-122"/>
                <a:sym typeface="+mn-ea"/>
              </a:endParaRPr>
            </a:p>
          </p:txBody>
        </p:sp>
        <p:cxnSp>
          <p:nvCxnSpPr>
            <p:cNvPr id="25" name="直接连接符 24"/>
            <p:cNvCxnSpPr/>
            <p:nvPr/>
          </p:nvCxnSpPr>
          <p:spPr>
            <a:xfrm>
              <a:off x="1182" y="4621"/>
              <a:ext cx="4819" cy="0"/>
            </a:xfrm>
            <a:prstGeom prst="line">
              <a:avLst/>
            </a:prstGeom>
            <a:ln w="9525">
              <a:solidFill>
                <a:srgbClr val="222222">
                  <a:alpha val="8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3" name="组合 102"/>
          <p:cNvGrpSpPr/>
          <p:nvPr/>
        </p:nvGrpSpPr>
        <p:grpSpPr>
          <a:xfrm>
            <a:off x="0" y="546735"/>
            <a:ext cx="7230745" cy="467995"/>
            <a:chOff x="0" y="861"/>
            <a:chExt cx="11387" cy="737"/>
          </a:xfrm>
        </p:grpSpPr>
        <p:sp>
          <p:nvSpPr>
            <p:cNvPr id="12" name="矩形 11"/>
            <p:cNvSpPr/>
            <p:nvPr/>
          </p:nvSpPr>
          <p:spPr>
            <a:xfrm>
              <a:off x="0" y="861"/>
              <a:ext cx="170" cy="737"/>
            </a:xfrm>
            <a:prstGeom prst="rect">
              <a:avLst/>
            </a:prstGeom>
            <a:solidFill>
              <a:srgbClr val="FF28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3" name="文本框 12"/>
            <p:cNvSpPr txBox="1"/>
            <p:nvPr/>
          </p:nvSpPr>
          <p:spPr>
            <a:xfrm>
              <a:off x="166" y="869"/>
              <a:ext cx="6631" cy="724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r>
                <a:rPr lang="zh-CN" altLang="en-US" sz="2400" b="1">
                  <a:solidFill>
                    <a:srgbClr val="222222"/>
                  </a:solidFill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</a:rPr>
                <a:t>稻壳儿</a:t>
              </a:r>
              <a:r>
                <a:rPr lang="en-US" altLang="zh-CN" sz="2400" b="1">
                  <a:solidFill>
                    <a:srgbClr val="222222"/>
                  </a:solidFill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</a:rPr>
                <a:t>PPT</a:t>
              </a:r>
              <a:r>
                <a:rPr lang="zh-CN" altLang="en-US" sz="2400" b="1">
                  <a:solidFill>
                    <a:srgbClr val="222222"/>
                  </a:solidFill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</a:rPr>
                <a:t>模板使用说明</a:t>
              </a:r>
              <a:endParaRPr lang="zh-CN" altLang="en-US" sz="2400" b="1">
                <a:solidFill>
                  <a:srgbClr val="222222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endParaRPr>
            </a:p>
          </p:txBody>
        </p:sp>
        <p:sp>
          <p:nvSpPr>
            <p:cNvPr id="14" name="文本框 13"/>
            <p:cNvSpPr txBox="1"/>
            <p:nvPr/>
          </p:nvSpPr>
          <p:spPr>
            <a:xfrm>
              <a:off x="5474" y="1013"/>
              <a:ext cx="5913" cy="43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200">
                  <a:solidFill>
                    <a:srgbClr val="222222">
                      <a:alpha val="60000"/>
                    </a:srgbClr>
                  </a:solidFill>
                  <a:latin typeface="微软雅黑" panose="020B0503020204020204" charset="-122"/>
                  <a:ea typeface="微软雅黑" panose="020B0503020204020204" charset="-122"/>
                </a:rPr>
                <a:t>（本页为说明页，用户使用模板时可删除本页内容）</a:t>
              </a:r>
              <a:endParaRPr lang="zh-CN" altLang="en-US" sz="1200">
                <a:solidFill>
                  <a:srgbClr val="222222">
                    <a:alpha val="60000"/>
                  </a:srgbClr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</p:grpSp>
      <p:grpSp>
        <p:nvGrpSpPr>
          <p:cNvPr id="58" name="组合 57"/>
          <p:cNvGrpSpPr/>
          <p:nvPr/>
        </p:nvGrpSpPr>
        <p:grpSpPr>
          <a:xfrm>
            <a:off x="650875" y="1403350"/>
            <a:ext cx="2066925" cy="645160"/>
            <a:chOff x="1166" y="2210"/>
            <a:chExt cx="3255" cy="1016"/>
          </a:xfrm>
        </p:grpSpPr>
        <p:sp>
          <p:nvSpPr>
            <p:cNvPr id="17" name="文本框 16"/>
            <p:cNvSpPr txBox="1"/>
            <p:nvPr/>
          </p:nvSpPr>
          <p:spPr>
            <a:xfrm>
              <a:off x="1166" y="2210"/>
              <a:ext cx="1555" cy="10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3600" b="1">
                  <a:solidFill>
                    <a:srgbClr val="FF2832"/>
                  </a:solidFill>
                  <a:latin typeface="微软雅黑" panose="020B0503020204020204" charset="-122"/>
                  <a:ea typeface="微软雅黑" panose="020B0503020204020204" charset="-122"/>
                  <a:cs typeface="思源黑体 CN Bold" panose="020B0800000000000000" pitchFamily="34" charset="-122"/>
                </a:rPr>
                <a:t>01</a:t>
              </a:r>
              <a:endParaRPr lang="en-US" sz="3600" b="1">
                <a:solidFill>
                  <a:srgbClr val="FF2832"/>
                </a:solidFill>
                <a:latin typeface="微软雅黑" panose="020B0503020204020204" charset="-122"/>
                <a:ea typeface="微软雅黑" panose="020B0503020204020204" charset="-122"/>
                <a:cs typeface="思源黑体 CN Bold" panose="020B0800000000000000" pitchFamily="34" charset="-122"/>
              </a:endParaRPr>
            </a:p>
          </p:txBody>
        </p:sp>
        <p:sp>
          <p:nvSpPr>
            <p:cNvPr id="19" name="文本框 18"/>
            <p:cNvSpPr txBox="1"/>
            <p:nvPr/>
          </p:nvSpPr>
          <p:spPr>
            <a:xfrm>
              <a:off x="2135" y="2404"/>
              <a:ext cx="2286" cy="62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2000" b="1">
                  <a:solidFill>
                    <a:srgbClr val="222222"/>
                  </a:solidFill>
                  <a:latin typeface="微软雅黑" panose="020B0503020204020204" charset="-122"/>
                  <a:ea typeface="微软雅黑" panose="020B0503020204020204" charset="-122"/>
                  <a:cs typeface="Microsoft YaHei Bold" panose="020B0503020204020204" charset="-122"/>
                </a:rPr>
                <a:t>字体说明</a:t>
              </a:r>
              <a:endParaRPr lang="zh-CN" altLang="en-US" sz="2000" b="1">
                <a:solidFill>
                  <a:srgbClr val="222222"/>
                </a:solidFill>
                <a:latin typeface="微软雅黑" panose="020B0503020204020204" charset="-122"/>
                <a:ea typeface="微软雅黑" panose="020B0503020204020204" charset="-122"/>
                <a:cs typeface="Microsoft YaHei Bold" panose="020B0503020204020204" charset="-122"/>
              </a:endParaRPr>
            </a:p>
          </p:txBody>
        </p:sp>
      </p:grpSp>
      <p:sp>
        <p:nvSpPr>
          <p:cNvPr id="56" name="文本框 55"/>
          <p:cNvSpPr txBox="1"/>
          <p:nvPr/>
        </p:nvSpPr>
        <p:spPr>
          <a:xfrm>
            <a:off x="631190" y="5792470"/>
            <a:ext cx="3298190" cy="7196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fontAlgn="auto">
              <a:lnSpc>
                <a:spcPct val="150000"/>
              </a:lnSpc>
            </a:pPr>
            <a:r>
              <a:rPr lang="zh-CN" altLang="en-US" sz="700">
                <a:solidFill>
                  <a:srgbClr val="222222">
                    <a:alpha val="60000"/>
                  </a:srgb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【说明】</a:t>
            </a:r>
            <a:endParaRPr lang="zh-CN" altLang="en-US" sz="700">
              <a:solidFill>
                <a:srgbClr val="222222">
                  <a:alpha val="60000"/>
                </a:srgbClr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  <a:p>
            <a:pPr>
              <a:lnSpc>
                <a:spcPct val="150000"/>
              </a:lnSpc>
            </a:pPr>
            <a:r>
              <a:rPr sz="700">
                <a:solidFill>
                  <a:srgbClr val="222222">
                    <a:alpha val="60000"/>
                  </a:srgbClr>
                </a:solidFill>
                <a:latin typeface="微软雅黑" panose="020B0503020204020204" charset="-122"/>
                <a:ea typeface="微软雅黑" panose="020B0503020204020204" charset="-122"/>
              </a:rPr>
              <a:t>模板中使用的字体为【</a:t>
            </a:r>
            <a:r>
              <a:rPr lang="zh-CN" altLang="en-US" sz="700">
                <a:solidFill>
                  <a:srgbClr val="222222">
                    <a:alpha val="60000"/>
                  </a:srgbClr>
                </a:solidFill>
                <a:latin typeface="微软雅黑" panose="020B0503020204020204" charset="-122"/>
                <a:ea typeface="微软雅黑" panose="020B0503020204020204" charset="-122"/>
              </a:rPr>
              <a:t>汉仪正圆</a:t>
            </a:r>
            <a:r>
              <a:rPr sz="700">
                <a:solidFill>
                  <a:srgbClr val="222222">
                    <a:alpha val="60000"/>
                  </a:srgbClr>
                </a:solidFill>
                <a:latin typeface="微软雅黑" panose="020B0503020204020204" charset="-122"/>
                <a:ea typeface="微软雅黑" panose="020B0503020204020204" charset="-122"/>
              </a:rPr>
              <a:t>】</a:t>
            </a:r>
            <a:r>
              <a:rPr lang="zh-CN" altLang="en-US" sz="700">
                <a:solidFill>
                  <a:srgbClr val="222222">
                    <a:alpha val="60000"/>
                  </a:srgbClr>
                </a:solidFill>
                <a:latin typeface="微软雅黑" panose="020B0503020204020204" charset="-122"/>
                <a:ea typeface="微软雅黑" panose="020B0503020204020204" charset="-122"/>
              </a:rPr>
              <a:t>、 </a:t>
            </a:r>
            <a:r>
              <a:rPr lang="en-US" altLang="zh-CN" sz="700">
                <a:solidFill>
                  <a:srgbClr val="222222">
                    <a:alpha val="60000"/>
                  </a:srgbClr>
                </a:solidFill>
                <a:latin typeface="微软雅黑" panose="020B0503020204020204" charset="-122"/>
                <a:ea typeface="微软雅黑" panose="020B0503020204020204" charset="-122"/>
              </a:rPr>
              <a:t>【</a:t>
            </a:r>
            <a:r>
              <a:rPr lang="zh-CN" altLang="en-US" sz="700">
                <a:solidFill>
                  <a:srgbClr val="222222">
                    <a:alpha val="60000"/>
                  </a:srgbClr>
                </a:solidFill>
                <a:latin typeface="微软雅黑" panose="020B0503020204020204" charset="-122"/>
                <a:ea typeface="微软雅黑" panose="020B0503020204020204" charset="-122"/>
              </a:rPr>
              <a:t>汉仪晓波敦黑</a:t>
            </a:r>
            <a:r>
              <a:rPr lang="en-US" altLang="zh-CN" sz="700">
                <a:solidFill>
                  <a:srgbClr val="222222">
                    <a:alpha val="60000"/>
                  </a:srgbClr>
                </a:solidFill>
                <a:latin typeface="微软雅黑" panose="020B0503020204020204" charset="-122"/>
                <a:ea typeface="微软雅黑" panose="020B0503020204020204" charset="-122"/>
              </a:rPr>
              <a:t>】</a:t>
            </a:r>
            <a:r>
              <a:rPr sz="700">
                <a:solidFill>
                  <a:srgbClr val="222222">
                    <a:alpha val="60000"/>
                  </a:srgbClr>
                </a:solidFill>
                <a:latin typeface="微软雅黑" panose="020B0503020204020204" charset="-122"/>
                <a:ea typeface="微软雅黑" panose="020B0503020204020204" charset="-122"/>
              </a:rPr>
              <a:t>，仅限于个人学习、研究或欣赏目的使用，  </a:t>
            </a:r>
            <a:endParaRPr sz="700">
              <a:solidFill>
                <a:srgbClr val="222222">
                  <a:alpha val="60000"/>
                </a:srgbClr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 algn="l" fontAlgn="auto">
              <a:lnSpc>
                <a:spcPct val="150000"/>
              </a:lnSpc>
            </a:pPr>
            <a:r>
              <a:rPr sz="700">
                <a:solidFill>
                  <a:srgbClr val="222222">
                    <a:alpha val="60000"/>
                  </a:srgbClr>
                </a:solidFill>
                <a:latin typeface="微软雅黑" panose="020B0503020204020204" charset="-122"/>
                <a:ea typeface="微软雅黑" panose="020B0503020204020204" charset="-122"/>
              </a:rPr>
              <a:t> 如需商用请您自行向版权方购买、获取商用版权。</a:t>
            </a:r>
            <a:endParaRPr sz="700">
              <a:solidFill>
                <a:srgbClr val="222222">
                  <a:alpha val="60000"/>
                </a:srgbClr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cxnSp>
        <p:nvCxnSpPr>
          <p:cNvPr id="57" name="直接连接符 56"/>
          <p:cNvCxnSpPr/>
          <p:nvPr/>
        </p:nvCxnSpPr>
        <p:spPr>
          <a:xfrm>
            <a:off x="4179570" y="2048510"/>
            <a:ext cx="0" cy="4319905"/>
          </a:xfrm>
          <a:prstGeom prst="line">
            <a:avLst/>
          </a:prstGeom>
          <a:ln w="9525">
            <a:solidFill>
              <a:srgbClr val="222222">
                <a:alpha val="8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2" name="组合 61"/>
          <p:cNvGrpSpPr/>
          <p:nvPr/>
        </p:nvGrpSpPr>
        <p:grpSpPr>
          <a:xfrm>
            <a:off x="4480560" y="1403350"/>
            <a:ext cx="2101215" cy="645160"/>
            <a:chOff x="1213" y="2210"/>
            <a:chExt cx="3309" cy="1016"/>
          </a:xfrm>
        </p:grpSpPr>
        <p:sp>
          <p:nvSpPr>
            <p:cNvPr id="63" name="文本框 62"/>
            <p:cNvSpPr txBox="1"/>
            <p:nvPr/>
          </p:nvSpPr>
          <p:spPr>
            <a:xfrm>
              <a:off x="1213" y="2210"/>
              <a:ext cx="1555" cy="10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3600" b="1">
                  <a:solidFill>
                    <a:srgbClr val="FF2832"/>
                  </a:solidFill>
                  <a:latin typeface="微软雅黑" panose="020B0503020204020204" charset="-122"/>
                  <a:ea typeface="微软雅黑" panose="020B0503020204020204" charset="-122"/>
                  <a:cs typeface="思源黑体 CN Bold" panose="020B0800000000000000" pitchFamily="34" charset="-122"/>
                </a:rPr>
                <a:t>02</a:t>
              </a:r>
              <a:endParaRPr lang="en-US" sz="3600" b="1">
                <a:solidFill>
                  <a:srgbClr val="FF2832"/>
                </a:solidFill>
                <a:latin typeface="微软雅黑" panose="020B0503020204020204" charset="-122"/>
                <a:ea typeface="微软雅黑" panose="020B0503020204020204" charset="-122"/>
                <a:cs typeface="思源黑体 CN Bold" panose="020B0800000000000000" pitchFamily="34" charset="-122"/>
              </a:endParaRPr>
            </a:p>
          </p:txBody>
        </p:sp>
        <p:sp>
          <p:nvSpPr>
            <p:cNvPr id="64" name="文本框 63"/>
            <p:cNvSpPr txBox="1"/>
            <p:nvPr/>
          </p:nvSpPr>
          <p:spPr>
            <a:xfrm>
              <a:off x="2236" y="2404"/>
              <a:ext cx="2286" cy="62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2000" b="1">
                  <a:solidFill>
                    <a:srgbClr val="222222"/>
                  </a:solidFill>
                  <a:latin typeface="微软雅黑" panose="020B0503020204020204" charset="-122"/>
                  <a:ea typeface="微软雅黑" panose="020B0503020204020204" charset="-122"/>
                  <a:cs typeface="Microsoft YaHei Bold" panose="020B0503020204020204" charset="-122"/>
                </a:rPr>
                <a:t>素材说明</a:t>
              </a:r>
              <a:endParaRPr lang="zh-CN" altLang="en-US" sz="2000" b="1">
                <a:solidFill>
                  <a:srgbClr val="222222"/>
                </a:solidFill>
                <a:latin typeface="微软雅黑" panose="020B0503020204020204" charset="-122"/>
                <a:ea typeface="微软雅黑" panose="020B0503020204020204" charset="-122"/>
                <a:cs typeface="Microsoft YaHei Bold" panose="020B0503020204020204" charset="-122"/>
              </a:endParaRPr>
            </a:p>
          </p:txBody>
        </p:sp>
      </p:grpSp>
      <p:grpSp>
        <p:nvGrpSpPr>
          <p:cNvPr id="70" name="组合 69"/>
          <p:cNvGrpSpPr/>
          <p:nvPr/>
        </p:nvGrpSpPr>
        <p:grpSpPr>
          <a:xfrm>
            <a:off x="4480560" y="2251075"/>
            <a:ext cx="3230880" cy="713105"/>
            <a:chOff x="7197" y="3533"/>
            <a:chExt cx="5088" cy="1123"/>
          </a:xfrm>
        </p:grpSpPr>
        <p:sp>
          <p:nvSpPr>
            <p:cNvPr id="68" name="文本框 67"/>
            <p:cNvSpPr txBox="1"/>
            <p:nvPr/>
          </p:nvSpPr>
          <p:spPr>
            <a:xfrm>
              <a:off x="7197" y="3533"/>
              <a:ext cx="1287" cy="3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zh-CN" altLang="en-US" sz="1000" b="1">
                  <a:solidFill>
                    <a:srgbClr val="222222"/>
                  </a:solidFill>
                  <a:latin typeface="微软雅黑" panose="020B0503020204020204" charset="-122"/>
                  <a:ea typeface="微软雅黑" panose="020B0503020204020204" charset="-122"/>
                </a:rPr>
                <a:t>图片：</a:t>
              </a:r>
              <a:endParaRPr lang="zh-CN" altLang="en-US" sz="1000" b="1">
                <a:solidFill>
                  <a:srgbClr val="222222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69" name="文本框 68"/>
            <p:cNvSpPr txBox="1"/>
            <p:nvPr/>
          </p:nvSpPr>
          <p:spPr>
            <a:xfrm>
              <a:off x="7197" y="3977"/>
              <a:ext cx="5088" cy="67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>
                <a:lnSpc>
                  <a:spcPts val="1400"/>
                </a:lnSpc>
              </a:pPr>
              <a:r>
                <a:rPr lang="en-US" altLang="zh-CN" sz="800">
                  <a:solidFill>
                    <a:srgbClr val="222222">
                      <a:alpha val="60000"/>
                    </a:srgbClr>
                  </a:solidFill>
                  <a:latin typeface="微软雅黑" panose="020B0503020204020204" charset="-122"/>
                  <a:ea typeface="微软雅黑" panose="020B0503020204020204" charset="-122"/>
                </a:rPr>
                <a:t>【CC0</a:t>
              </a:r>
              <a:r>
                <a:rPr lang="zh-CN" altLang="en-US" sz="800">
                  <a:solidFill>
                    <a:srgbClr val="222222">
                      <a:alpha val="60000"/>
                    </a:srgbClr>
                  </a:solidFill>
                  <a:latin typeface="微软雅黑" panose="020B0503020204020204" charset="-122"/>
                  <a:ea typeface="微软雅黑" panose="020B0503020204020204" charset="-122"/>
                </a:rPr>
                <a:t>共享协议素材说明</a:t>
              </a:r>
              <a:r>
                <a:rPr lang="en-US" altLang="zh-CN" sz="800">
                  <a:solidFill>
                    <a:srgbClr val="222222">
                      <a:alpha val="60000"/>
                    </a:srgbClr>
                  </a:solidFill>
                  <a:latin typeface="微软雅黑" panose="020B0503020204020204" charset="-122"/>
                  <a:ea typeface="微软雅黑" panose="020B0503020204020204" charset="-122"/>
                </a:rPr>
                <a:t>】</a:t>
              </a:r>
              <a:r>
                <a:rPr lang="zh-CN" altLang="en-US" sz="800">
                  <a:solidFill>
                    <a:srgbClr val="222222">
                      <a:alpha val="60000"/>
                    </a:srgbClr>
                  </a:solidFill>
                  <a:latin typeface="微软雅黑" panose="020B0503020204020204" charset="-122"/>
                  <a:ea typeface="微软雅黑" panose="020B0503020204020204" charset="-122"/>
                </a:rPr>
                <a:t>模板中使用的图片来源于</a:t>
              </a:r>
              <a:r>
                <a:rPr lang="en-US" altLang="zh-CN" sz="800">
                  <a:solidFill>
                    <a:srgbClr val="222222">
                      <a:alpha val="60000"/>
                    </a:srgbClr>
                  </a:solidFill>
                  <a:latin typeface="微软雅黑" panose="020B0503020204020204" charset="-122"/>
                  <a:ea typeface="微软雅黑" panose="020B0503020204020204" charset="-122"/>
                </a:rPr>
                <a:t>【 Pexels 】</a:t>
              </a:r>
              <a:r>
                <a:rPr lang="zh-CN" altLang="en-US" sz="800">
                  <a:solidFill>
                    <a:srgbClr val="222222">
                      <a:alpha val="60000"/>
                    </a:srgbClr>
                  </a:solidFill>
                  <a:latin typeface="微软雅黑" panose="020B0503020204020204" charset="-122"/>
                  <a:ea typeface="微软雅黑" panose="020B0503020204020204" charset="-122"/>
                </a:rPr>
                <a:t>，该图片具有</a:t>
              </a:r>
              <a:r>
                <a:rPr lang="en-US" altLang="zh-CN" sz="800">
                  <a:solidFill>
                    <a:srgbClr val="222222">
                      <a:alpha val="60000"/>
                    </a:srgbClr>
                  </a:solidFill>
                  <a:latin typeface="微软雅黑" panose="020B0503020204020204" charset="-122"/>
                  <a:ea typeface="微软雅黑" panose="020B0503020204020204" charset="-122"/>
                </a:rPr>
                <a:t>CC0</a:t>
              </a:r>
              <a:r>
                <a:rPr lang="zh-CN" altLang="en-US" sz="800">
                  <a:solidFill>
                    <a:srgbClr val="222222">
                      <a:alpha val="60000"/>
                    </a:srgbClr>
                  </a:solidFill>
                  <a:latin typeface="微软雅黑" panose="020B0503020204020204" charset="-122"/>
                  <a:ea typeface="微软雅黑" panose="020B0503020204020204" charset="-122"/>
                </a:rPr>
                <a:t>共享协议，您可在遵循</a:t>
              </a:r>
              <a:r>
                <a:rPr lang="en-US" altLang="zh-CN" sz="800">
                  <a:solidFill>
                    <a:srgbClr val="222222">
                      <a:alpha val="60000"/>
                    </a:srgbClr>
                  </a:solidFill>
                  <a:latin typeface="微软雅黑" panose="020B0503020204020204" charset="-122"/>
                  <a:ea typeface="微软雅黑" panose="020B0503020204020204" charset="-122"/>
                </a:rPr>
                <a:t>CC0</a:t>
              </a:r>
              <a:r>
                <a:rPr lang="zh-CN" altLang="en-US" sz="800">
                  <a:solidFill>
                    <a:srgbClr val="222222">
                      <a:alpha val="60000"/>
                    </a:srgbClr>
                  </a:solidFill>
                  <a:latin typeface="微软雅黑" panose="020B0503020204020204" charset="-122"/>
                  <a:ea typeface="微软雅黑" panose="020B0503020204020204" charset="-122"/>
                </a:rPr>
                <a:t>共享协议的情况下使用。</a:t>
              </a:r>
              <a:endParaRPr lang="zh-CN" altLang="en-US" sz="800">
                <a:solidFill>
                  <a:srgbClr val="222222">
                    <a:alpha val="60000"/>
                  </a:srgbClr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</p:grpSp>
      <p:grpSp>
        <p:nvGrpSpPr>
          <p:cNvPr id="78" name="组合 77"/>
          <p:cNvGrpSpPr/>
          <p:nvPr/>
        </p:nvGrpSpPr>
        <p:grpSpPr>
          <a:xfrm>
            <a:off x="4480560" y="3213100"/>
            <a:ext cx="3230880" cy="676275"/>
            <a:chOff x="7197" y="4715"/>
            <a:chExt cx="5088" cy="1065"/>
          </a:xfrm>
        </p:grpSpPr>
        <p:sp>
          <p:nvSpPr>
            <p:cNvPr id="75" name="文本框 74"/>
            <p:cNvSpPr txBox="1"/>
            <p:nvPr/>
          </p:nvSpPr>
          <p:spPr>
            <a:xfrm>
              <a:off x="7197" y="4715"/>
              <a:ext cx="1287" cy="3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zh-CN" altLang="en-US" sz="1000" b="1">
                  <a:solidFill>
                    <a:srgbClr val="222222"/>
                  </a:solidFill>
                  <a:latin typeface="微软雅黑" panose="020B0503020204020204" charset="-122"/>
                  <a:ea typeface="微软雅黑" panose="020B0503020204020204" charset="-122"/>
                </a:rPr>
                <a:t>素材：</a:t>
              </a:r>
              <a:endParaRPr lang="zh-CN" altLang="en-US" sz="1000" b="1">
                <a:solidFill>
                  <a:srgbClr val="222222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77" name="文本框 76"/>
            <p:cNvSpPr txBox="1"/>
            <p:nvPr/>
          </p:nvSpPr>
          <p:spPr>
            <a:xfrm>
              <a:off x="7197" y="5101"/>
              <a:ext cx="5088" cy="67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1400"/>
                </a:lnSpc>
              </a:pPr>
              <a:r>
                <a:rPr lang="en-US" altLang="zh-CN" sz="800" dirty="0">
                  <a:solidFill>
                    <a:srgbClr val="222222">
                      <a:alpha val="60000"/>
                    </a:srgbClr>
                  </a:solidFill>
                  <a:latin typeface="微软雅黑" panose="020B0503020204020204" charset="-122"/>
                  <a:ea typeface="微软雅黑" panose="020B0503020204020204" charset="-122"/>
                </a:rPr>
                <a:t>【CC0</a:t>
              </a:r>
              <a:r>
                <a:rPr lang="zh-CN" altLang="en-US" sz="800" dirty="0">
                  <a:solidFill>
                    <a:srgbClr val="222222">
                      <a:alpha val="60000"/>
                    </a:srgbClr>
                  </a:solidFill>
                  <a:latin typeface="微软雅黑" panose="020B0503020204020204" charset="-122"/>
                  <a:ea typeface="微软雅黑" panose="020B0503020204020204" charset="-122"/>
                </a:rPr>
                <a:t>共享协议素材说明</a:t>
              </a:r>
              <a:r>
                <a:rPr lang="en-US" altLang="zh-CN" sz="800" dirty="0">
                  <a:solidFill>
                    <a:srgbClr val="222222">
                      <a:alpha val="60000"/>
                    </a:srgbClr>
                  </a:solidFill>
                  <a:latin typeface="微软雅黑" panose="020B0503020204020204" charset="-122"/>
                  <a:ea typeface="微软雅黑" panose="020B0503020204020204" charset="-122"/>
                </a:rPr>
                <a:t>】</a:t>
              </a:r>
              <a:r>
                <a:rPr lang="zh-CN" altLang="en-US" sz="800" dirty="0">
                  <a:solidFill>
                    <a:srgbClr val="222222">
                      <a:alpha val="60000"/>
                    </a:srgbClr>
                  </a:solidFill>
                  <a:latin typeface="微软雅黑" panose="020B0503020204020204" charset="-122"/>
                  <a:ea typeface="微软雅黑" panose="020B0503020204020204" charset="-122"/>
                </a:rPr>
                <a:t>模板中使用的素材来源于</a:t>
              </a:r>
              <a:r>
                <a:rPr lang="en-US" altLang="zh-CN" sz="800" dirty="0">
                  <a:solidFill>
                    <a:srgbClr val="222222">
                      <a:alpha val="60000"/>
                    </a:srgbClr>
                  </a:solidFill>
                  <a:latin typeface="微软雅黑" panose="020B0503020204020204" charset="-122"/>
                  <a:ea typeface="微软雅黑" panose="020B0503020204020204" charset="-122"/>
                </a:rPr>
                <a:t>【 </a:t>
              </a:r>
              <a:r>
                <a:rPr lang="en-US" altLang="zh-CN" sz="800" dirty="0" err="1">
                  <a:solidFill>
                    <a:srgbClr val="222222">
                      <a:alpha val="60000"/>
                    </a:srgbClr>
                  </a:solidFill>
                  <a:latin typeface="微软雅黑" panose="020B0503020204020204" charset="-122"/>
                  <a:ea typeface="微软雅黑" panose="020B0503020204020204" charset="-122"/>
                </a:rPr>
                <a:t>Pexels</a:t>
              </a:r>
              <a:r>
                <a:rPr lang="en-US" altLang="zh-CN" sz="800" dirty="0">
                  <a:solidFill>
                    <a:srgbClr val="222222">
                      <a:alpha val="60000"/>
                    </a:srgbClr>
                  </a:solidFill>
                  <a:latin typeface="微软雅黑" panose="020B0503020204020204" charset="-122"/>
                  <a:ea typeface="微软雅黑" panose="020B0503020204020204" charset="-122"/>
                </a:rPr>
                <a:t> 】</a:t>
              </a:r>
              <a:r>
                <a:rPr lang="zh-CN" altLang="en-US" sz="800" dirty="0">
                  <a:solidFill>
                    <a:srgbClr val="222222">
                      <a:alpha val="60000"/>
                    </a:srgbClr>
                  </a:solidFill>
                  <a:latin typeface="微软雅黑" panose="020B0503020204020204" charset="-122"/>
                  <a:ea typeface="微软雅黑" panose="020B0503020204020204" charset="-122"/>
                </a:rPr>
                <a:t>，该素材具有</a:t>
              </a:r>
              <a:r>
                <a:rPr lang="en-US" altLang="zh-CN" sz="800" dirty="0">
                  <a:solidFill>
                    <a:srgbClr val="222222">
                      <a:alpha val="60000"/>
                    </a:srgbClr>
                  </a:solidFill>
                  <a:latin typeface="微软雅黑" panose="020B0503020204020204" charset="-122"/>
                  <a:ea typeface="微软雅黑" panose="020B0503020204020204" charset="-122"/>
                </a:rPr>
                <a:t>CC0</a:t>
              </a:r>
              <a:r>
                <a:rPr lang="zh-CN" altLang="en-US" sz="800" dirty="0">
                  <a:solidFill>
                    <a:srgbClr val="222222">
                      <a:alpha val="60000"/>
                    </a:srgbClr>
                  </a:solidFill>
                  <a:latin typeface="微软雅黑" panose="020B0503020204020204" charset="-122"/>
                  <a:ea typeface="微软雅黑" panose="020B0503020204020204" charset="-122"/>
                </a:rPr>
                <a:t>共享协议，您可在遵循</a:t>
              </a:r>
              <a:r>
                <a:rPr lang="en-US" altLang="zh-CN" sz="800" dirty="0">
                  <a:solidFill>
                    <a:srgbClr val="222222">
                      <a:alpha val="60000"/>
                    </a:srgbClr>
                  </a:solidFill>
                  <a:latin typeface="微软雅黑" panose="020B0503020204020204" charset="-122"/>
                  <a:ea typeface="微软雅黑" panose="020B0503020204020204" charset="-122"/>
                </a:rPr>
                <a:t>CC0</a:t>
              </a:r>
              <a:r>
                <a:rPr lang="zh-CN" altLang="en-US" sz="800" dirty="0">
                  <a:solidFill>
                    <a:srgbClr val="222222">
                      <a:alpha val="60000"/>
                    </a:srgbClr>
                  </a:solidFill>
                  <a:latin typeface="微软雅黑" panose="020B0503020204020204" charset="-122"/>
                  <a:ea typeface="微软雅黑" panose="020B0503020204020204" charset="-122"/>
                </a:rPr>
                <a:t>共享协议的情况下使用。</a:t>
              </a:r>
              <a:endParaRPr lang="zh-CN" altLang="en-US" sz="800" dirty="0">
                <a:solidFill>
                  <a:srgbClr val="222222">
                    <a:alpha val="60000"/>
                  </a:srgbClr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</p:grpSp>
      <p:cxnSp>
        <p:nvCxnSpPr>
          <p:cNvPr id="85" name="直接连接符 84"/>
          <p:cNvCxnSpPr/>
          <p:nvPr/>
        </p:nvCxnSpPr>
        <p:spPr>
          <a:xfrm>
            <a:off x="8001635" y="2048510"/>
            <a:ext cx="0" cy="4319905"/>
          </a:xfrm>
          <a:prstGeom prst="line">
            <a:avLst/>
          </a:prstGeom>
          <a:ln w="9525">
            <a:solidFill>
              <a:srgbClr val="222222">
                <a:alpha val="8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组合 1"/>
          <p:cNvGrpSpPr/>
          <p:nvPr/>
        </p:nvGrpSpPr>
        <p:grpSpPr>
          <a:xfrm>
            <a:off x="8291195" y="1403350"/>
            <a:ext cx="3253105" cy="4365625"/>
            <a:chOff x="13198" y="2210"/>
            <a:chExt cx="5123" cy="6875"/>
          </a:xfrm>
        </p:grpSpPr>
        <p:grpSp>
          <p:nvGrpSpPr>
            <p:cNvPr id="90" name="组合 89"/>
            <p:cNvGrpSpPr/>
            <p:nvPr/>
          </p:nvGrpSpPr>
          <p:grpSpPr>
            <a:xfrm>
              <a:off x="13198" y="2210"/>
              <a:ext cx="3309" cy="1016"/>
              <a:chOff x="1213" y="2210"/>
              <a:chExt cx="3309" cy="1016"/>
            </a:xfrm>
          </p:grpSpPr>
          <p:sp>
            <p:nvSpPr>
              <p:cNvPr id="91" name="文本框 90"/>
              <p:cNvSpPr txBox="1"/>
              <p:nvPr/>
            </p:nvSpPr>
            <p:spPr>
              <a:xfrm>
                <a:off x="1213" y="2210"/>
                <a:ext cx="1555" cy="101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3600" b="1">
                    <a:solidFill>
                      <a:srgbClr val="FF2832"/>
                    </a:solidFill>
                    <a:latin typeface="微软雅黑" panose="020B0503020204020204" charset="-122"/>
                    <a:ea typeface="微软雅黑" panose="020B0503020204020204" charset="-122"/>
                    <a:cs typeface="思源黑体 CN Bold" panose="020B0800000000000000" pitchFamily="34" charset="-122"/>
                  </a:rPr>
                  <a:t>03</a:t>
                </a:r>
                <a:endParaRPr lang="en-US" sz="3600" b="1">
                  <a:solidFill>
                    <a:srgbClr val="FF2832"/>
                  </a:solidFill>
                  <a:latin typeface="微软雅黑" panose="020B0503020204020204" charset="-122"/>
                  <a:ea typeface="微软雅黑" panose="020B0503020204020204" charset="-122"/>
                  <a:cs typeface="思源黑体 CN Bold" panose="020B0800000000000000" pitchFamily="34" charset="-122"/>
                </a:endParaRPr>
              </a:p>
            </p:txBody>
          </p:sp>
          <p:sp>
            <p:nvSpPr>
              <p:cNvPr id="92" name="文本框 91"/>
              <p:cNvSpPr txBox="1"/>
              <p:nvPr/>
            </p:nvSpPr>
            <p:spPr>
              <a:xfrm>
                <a:off x="2236" y="2404"/>
                <a:ext cx="2286" cy="62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zh-CN" altLang="en-US" sz="2000" b="1">
                    <a:solidFill>
                      <a:srgbClr val="222222"/>
                    </a:solidFill>
                    <a:latin typeface="微软雅黑" panose="020B0503020204020204" charset="-122"/>
                    <a:ea typeface="微软雅黑" panose="020B0503020204020204" charset="-122"/>
                    <a:cs typeface="Microsoft YaHei Bold" panose="020B0503020204020204" charset="-122"/>
                  </a:rPr>
                  <a:t>母版说明</a:t>
                </a:r>
                <a:endParaRPr lang="zh-CN" altLang="en-US" sz="2000" b="1">
                  <a:solidFill>
                    <a:srgbClr val="222222"/>
                  </a:solidFill>
                  <a:latin typeface="微软雅黑" panose="020B0503020204020204" charset="-122"/>
                  <a:ea typeface="微软雅黑" panose="020B0503020204020204" charset="-122"/>
                  <a:cs typeface="Microsoft YaHei Bold" panose="020B0503020204020204" charset="-122"/>
                </a:endParaRPr>
              </a:p>
            </p:txBody>
          </p:sp>
        </p:grpSp>
        <p:sp>
          <p:nvSpPr>
            <p:cNvPr id="95" name="文本框 94"/>
            <p:cNvSpPr txBox="1"/>
            <p:nvPr/>
          </p:nvSpPr>
          <p:spPr>
            <a:xfrm>
              <a:off x="13233" y="3478"/>
              <a:ext cx="5088" cy="66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 algn="l">
                <a:lnSpc>
                  <a:spcPts val="1300"/>
                </a:lnSpc>
              </a:pPr>
              <a:r>
                <a:rPr lang="zh-CN" altLang="en-US" sz="800">
                  <a:solidFill>
                    <a:srgbClr val="222222">
                      <a:alpha val="60000"/>
                    </a:srgbClr>
                  </a:solidFill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  <a:sym typeface="+mn-ea"/>
                </a:rPr>
                <a:t>使用本套PPT模板时，若在操作界面鼠标不可选取的内容，可以在幻灯片母版中进行查看和编辑，具体操作如下：</a:t>
              </a:r>
              <a:endParaRPr lang="zh-CN" altLang="en-US" sz="800">
                <a:solidFill>
                  <a:srgbClr val="222222">
                    <a:alpha val="60000"/>
                  </a:srgb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endParaRPr>
            </a:p>
          </p:txBody>
        </p:sp>
        <p:sp>
          <p:nvSpPr>
            <p:cNvPr id="97" name="文本框 96"/>
            <p:cNvSpPr txBox="1"/>
            <p:nvPr/>
          </p:nvSpPr>
          <p:spPr>
            <a:xfrm>
              <a:off x="13199" y="4314"/>
              <a:ext cx="5088" cy="99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 algn="l" fontAlgn="auto">
                <a:lnSpc>
                  <a:spcPts val="1400"/>
                </a:lnSpc>
              </a:pPr>
              <a:r>
                <a:rPr lang="zh-CN" altLang="en-US" sz="800" b="1">
                  <a:solidFill>
                    <a:srgbClr val="222222"/>
                  </a:solidFill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  <a:sym typeface="+mn-ea"/>
                </a:rPr>
                <a:t>1、点击【视图】</a:t>
              </a:r>
              <a:endParaRPr lang="zh-CN" altLang="en-US" sz="800" b="1">
                <a:solidFill>
                  <a:srgbClr val="222222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endParaRPr>
            </a:p>
            <a:p>
              <a:pPr lvl="0" algn="l" fontAlgn="auto">
                <a:lnSpc>
                  <a:spcPts val="1400"/>
                </a:lnSpc>
              </a:pPr>
              <a:r>
                <a:rPr lang="zh-CN" altLang="en-US" sz="800" b="1">
                  <a:solidFill>
                    <a:srgbClr val="222222"/>
                  </a:solidFill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  <a:sym typeface="+mn-ea"/>
                </a:rPr>
                <a:t>2、选择【幻灯片母版】，即可查看/编辑母版内容</a:t>
              </a:r>
              <a:endParaRPr lang="zh-CN" altLang="en-US" sz="800" b="1">
                <a:solidFill>
                  <a:srgbClr val="222222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endParaRPr>
            </a:p>
            <a:p>
              <a:pPr lvl="0" algn="l" fontAlgn="auto">
                <a:lnSpc>
                  <a:spcPts val="1400"/>
                </a:lnSpc>
              </a:pPr>
              <a:r>
                <a:rPr lang="zh-CN" altLang="en-US" sz="800" b="1">
                  <a:solidFill>
                    <a:srgbClr val="222222"/>
                  </a:solidFill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  <a:sym typeface="+mn-ea"/>
                </a:rPr>
                <a:t>3、查看/编辑完成后，点击【关闭】即可</a:t>
              </a:r>
              <a:endParaRPr lang="zh-CN" altLang="en-US" sz="800" b="1">
                <a:solidFill>
                  <a:srgbClr val="222222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endParaRPr>
            </a:p>
          </p:txBody>
        </p:sp>
        <p:pic>
          <p:nvPicPr>
            <p:cNvPr id="105" name="图片 104" descr="母版说明配图"/>
            <p:cNvPicPr>
              <a:picLocks noChangeAspect="1"/>
            </p:cNvPicPr>
            <p:nvPr/>
          </p:nvPicPr>
          <p:blipFill>
            <a:blip r:embed="rId1"/>
            <a:stretch>
              <a:fillRect/>
            </a:stretch>
          </p:blipFill>
          <p:spPr>
            <a:xfrm>
              <a:off x="13347" y="5578"/>
              <a:ext cx="4825" cy="3507"/>
            </a:xfrm>
            <a:prstGeom prst="rect">
              <a:avLst/>
            </a:prstGeom>
          </p:spPr>
        </p:pic>
      </p:grpSp>
    </p:spTree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深度视觉·原创设计 https://www.docer.com/works?userid=22383862"/>
          <p:cNvSpPr/>
          <p:nvPr/>
        </p:nvSpPr>
        <p:spPr>
          <a:xfrm flipH="1">
            <a:off x="9677400" y="4533899"/>
            <a:ext cx="2514600" cy="2324101"/>
          </a:xfrm>
          <a:prstGeom prst="corner">
            <a:avLst>
              <a:gd name="adj1" fmla="val 17397"/>
              <a:gd name="adj2" fmla="val 16614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6" name="深度视觉·原创设计 https://www.docer.com/works?userid=22383862"/>
          <p:cNvSpPr/>
          <p:nvPr/>
        </p:nvSpPr>
        <p:spPr>
          <a:xfrm rot="10800000" flipH="1">
            <a:off x="0" y="0"/>
            <a:ext cx="2514600" cy="2324101"/>
          </a:xfrm>
          <a:prstGeom prst="corner">
            <a:avLst>
              <a:gd name="adj1" fmla="val 17397"/>
              <a:gd name="adj2" fmla="val 16614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8" name="深度视觉·原创设计 https://www.docer.com/works?userid=22383862"/>
          <p:cNvSpPr txBox="1"/>
          <p:nvPr/>
        </p:nvSpPr>
        <p:spPr>
          <a:xfrm>
            <a:off x="1645262" y="2813447"/>
            <a:ext cx="4857138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4000" b="1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汉仪正圆-55W" panose="00020600040101010101" pitchFamily="18" charset="-122"/>
                <a:ea typeface="汉仪正圆-55W" panose="00020600040101010101" pitchFamily="18" charset="-122"/>
                <a:cs typeface="Alibaba PuHuiTi" pitchFamily="18" charset="-122"/>
                <a:sym typeface="汉仪正圆-55W" panose="00020600040101010101" pitchFamily="18" charset="-122"/>
              </a:rPr>
              <a:t>阶段工作概述</a:t>
            </a:r>
            <a:endParaRPr kumimoji="0" lang="zh-CN" altLang="en-US" sz="40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汉仪正圆-55W" panose="00020600040101010101" pitchFamily="18" charset="-122"/>
              <a:ea typeface="汉仪正圆-55W" panose="00020600040101010101" pitchFamily="18" charset="-122"/>
              <a:cs typeface="Alibaba PuHuiTi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9" name="深度视觉·原创设计 https://www.docer.com/works?userid=22383862"/>
          <p:cNvSpPr/>
          <p:nvPr/>
        </p:nvSpPr>
        <p:spPr>
          <a:xfrm>
            <a:off x="1645262" y="2080208"/>
            <a:ext cx="2103800" cy="500806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>
                <a:solidFill>
                  <a:schemeClr val="lt1"/>
                </a:solidFill>
              </a:defRPr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2800" dirty="0">
                <a:solidFill>
                  <a:schemeClr val="bg1"/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cs typeface="Alibaba PuHuiTi" pitchFamily="18" charset="-122"/>
                <a:sym typeface="汉仪正圆-55W" panose="00020600040101010101" pitchFamily="18" charset="-122"/>
              </a:rPr>
              <a:t>PART 01</a:t>
            </a:r>
            <a:endParaRPr lang="zh-CN" altLang="en-US" sz="2800" dirty="0">
              <a:solidFill>
                <a:schemeClr val="bg1"/>
              </a:solidFill>
              <a:latin typeface="汉仪正圆-55W" panose="00020600040101010101" pitchFamily="18" charset="-122"/>
              <a:ea typeface="汉仪正圆-55W" panose="00020600040101010101" pitchFamily="18" charset="-122"/>
              <a:cs typeface="Alibaba PuHuiTi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10" name="深度视觉·原创设计 https://www.docer.com/works?userid=22383862"/>
          <p:cNvSpPr txBox="1"/>
          <p:nvPr/>
        </p:nvSpPr>
        <p:spPr>
          <a:xfrm>
            <a:off x="1645262" y="3661433"/>
            <a:ext cx="4305595" cy="10348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400" dirty="0">
                <a:solidFill>
                  <a:schemeClr val="tx1">
                    <a:lumMod val="85000"/>
                    <a:lumOff val="15000"/>
                    <a:alpha val="50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cs typeface="Alibaba PuHuiTi" pitchFamily="18" charset="-122"/>
                <a:sym typeface="汉仪正圆-55W" panose="00020600040101010101" pitchFamily="18" charset="-122"/>
              </a:rPr>
              <a:t>正文内容，本段适应大段文字章节。如果文字较多的内容描述比较适合放在这里，请在此修改您的内容，或者将内容粘贴到记事本后，复制到此段落中。</a:t>
            </a:r>
            <a:endParaRPr lang="en-US" altLang="zh-CN" sz="1400" dirty="0">
              <a:solidFill>
                <a:schemeClr val="tx1">
                  <a:lumMod val="85000"/>
                  <a:lumOff val="15000"/>
                  <a:alpha val="50000"/>
                </a:schemeClr>
              </a:solidFill>
              <a:latin typeface="汉仪正圆-55W" panose="00020600040101010101" pitchFamily="18" charset="-122"/>
              <a:ea typeface="汉仪正圆-55W" panose="00020600040101010101" pitchFamily="18" charset="-122"/>
              <a:cs typeface="Alibaba PuHuiTi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12" name="深度视觉·原创设计 https://www.docer.com/works?userid=22383862"/>
          <p:cNvSpPr/>
          <p:nvPr/>
        </p:nvSpPr>
        <p:spPr>
          <a:xfrm>
            <a:off x="6763658" y="2080208"/>
            <a:ext cx="4044338" cy="2604967"/>
          </a:xfrm>
          <a:custGeom>
            <a:avLst/>
            <a:gdLst>
              <a:gd name="connsiteX0" fmla="*/ 0 w 4044338"/>
              <a:gd name="connsiteY0" fmla="*/ 0 h 2604967"/>
              <a:gd name="connsiteX1" fmla="*/ 4044338 w 4044338"/>
              <a:gd name="connsiteY1" fmla="*/ 0 h 2604967"/>
              <a:gd name="connsiteX2" fmla="*/ 4044338 w 4044338"/>
              <a:gd name="connsiteY2" fmla="*/ 2604967 h 2604967"/>
              <a:gd name="connsiteX3" fmla="*/ 0 w 4044338"/>
              <a:gd name="connsiteY3" fmla="*/ 2604967 h 26049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44338" h="2604967">
                <a:moveTo>
                  <a:pt x="0" y="0"/>
                </a:moveTo>
                <a:lnTo>
                  <a:pt x="4044338" y="0"/>
                </a:lnTo>
                <a:lnTo>
                  <a:pt x="4044338" y="2604967"/>
                </a:lnTo>
                <a:lnTo>
                  <a:pt x="0" y="2604967"/>
                </a:lnTo>
                <a:close/>
              </a:path>
            </a:pathLst>
          </a:custGeom>
          <a:blipFill>
            <a:blip r:embed="rId1"/>
            <a:srcRect/>
            <a:stretch>
              <a:fillRect t="-66441" b="-66441"/>
            </a:stretch>
          </a:blip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/>
                <a:tailEnd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深度视觉·原创设计 https://www.docer.com/works?userid=22383862"/>
          <p:cNvSpPr/>
          <p:nvPr/>
        </p:nvSpPr>
        <p:spPr>
          <a:xfrm flipH="1">
            <a:off x="11252019" y="5989229"/>
            <a:ext cx="939981" cy="868771"/>
          </a:xfrm>
          <a:prstGeom prst="corner">
            <a:avLst>
              <a:gd name="adj1" fmla="val 17397"/>
              <a:gd name="adj2" fmla="val 16614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55" name="深度视觉·原创设计 https://www.docer.com/works?userid=22383862"/>
          <p:cNvSpPr/>
          <p:nvPr/>
        </p:nvSpPr>
        <p:spPr>
          <a:xfrm rot="10800000" flipH="1">
            <a:off x="0" y="0"/>
            <a:ext cx="939981" cy="868771"/>
          </a:xfrm>
          <a:prstGeom prst="corner">
            <a:avLst>
              <a:gd name="adj1" fmla="val 17397"/>
              <a:gd name="adj2" fmla="val 16614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56" name="深度视觉·原创设计 https://www.docer.com/works?userid=22383862"/>
          <p:cNvSpPr/>
          <p:nvPr/>
        </p:nvSpPr>
        <p:spPr>
          <a:xfrm>
            <a:off x="4535714" y="350796"/>
            <a:ext cx="3120572" cy="51797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57" name="深度视觉·原创设计 https://www.docer.com/works?userid=22383862"/>
          <p:cNvSpPr txBox="1"/>
          <p:nvPr/>
        </p:nvSpPr>
        <p:spPr>
          <a:xfrm>
            <a:off x="4966459" y="455895"/>
            <a:ext cx="2259081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2000" spc="300" dirty="0">
                <a:solidFill>
                  <a:schemeClr val="tx1">
                    <a:lumMod val="75000"/>
                    <a:lumOff val="25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cs typeface="Alibaba PuHuiTi" pitchFamily="18" charset="-122"/>
                <a:sym typeface="汉仪正圆-55W" panose="00020600040101010101" pitchFamily="18" charset="-122"/>
              </a:rPr>
              <a:t>输入您的标题</a:t>
            </a:r>
            <a:endParaRPr kumimoji="0" lang="zh-CN" altLang="en-US" sz="2000" i="0" u="none" strike="noStrike" kern="1200" cap="none" spc="30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汉仪正圆-55W" panose="00020600040101010101" pitchFamily="18" charset="-122"/>
              <a:ea typeface="汉仪正圆-55W" panose="00020600040101010101" pitchFamily="18" charset="-122"/>
              <a:cs typeface="Alibaba PuHuiTi" pitchFamily="18" charset="-122"/>
              <a:sym typeface="汉仪正圆-55W" panose="00020600040101010101" pitchFamily="18" charset="-122"/>
            </a:endParaRPr>
          </a:p>
        </p:txBody>
      </p:sp>
      <p:grpSp>
        <p:nvGrpSpPr>
          <p:cNvPr id="2" name="深度视觉·原创设计 https://www.docer.com/works?userid=22383862"/>
          <p:cNvGrpSpPr/>
          <p:nvPr/>
        </p:nvGrpSpPr>
        <p:grpSpPr>
          <a:xfrm>
            <a:off x="2219841" y="2799415"/>
            <a:ext cx="1302443" cy="1913081"/>
            <a:chOff x="1578112" y="2345101"/>
            <a:chExt cx="1655762" cy="2432050"/>
          </a:xfrm>
        </p:grpSpPr>
        <p:sp>
          <p:nvSpPr>
            <p:cNvPr id="3" name="深度视觉·原创设计 https://www.docer.com/works?userid=22383862"/>
            <p:cNvSpPr>
              <a:spLocks noChangeArrowheads="1"/>
            </p:cNvSpPr>
            <p:nvPr/>
          </p:nvSpPr>
          <p:spPr bwMode="auto">
            <a:xfrm>
              <a:off x="2303599" y="4561251"/>
              <a:ext cx="479425" cy="21590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4" name="深度视觉·原创设计 https://www.docer.com/works?userid=22383862"/>
            <p:cNvSpPr/>
            <p:nvPr/>
          </p:nvSpPr>
          <p:spPr bwMode="auto">
            <a:xfrm>
              <a:off x="2390912" y="3296014"/>
              <a:ext cx="293687" cy="1393825"/>
            </a:xfrm>
            <a:custGeom>
              <a:avLst/>
              <a:gdLst>
                <a:gd name="T0" fmla="*/ 30 w 30"/>
                <a:gd name="T1" fmla="*/ 138 h 142"/>
                <a:gd name="T2" fmla="*/ 16 w 30"/>
                <a:gd name="T3" fmla="*/ 142 h 142"/>
                <a:gd name="T4" fmla="*/ 0 w 30"/>
                <a:gd name="T5" fmla="*/ 139 h 142"/>
                <a:gd name="T6" fmla="*/ 13 w 30"/>
                <a:gd name="T7" fmla="*/ 0 h 142"/>
                <a:gd name="T8" fmla="*/ 18 w 30"/>
                <a:gd name="T9" fmla="*/ 0 h 142"/>
                <a:gd name="T10" fmla="*/ 30 w 30"/>
                <a:gd name="T11" fmla="*/ 13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142">
                  <a:moveTo>
                    <a:pt x="30" y="138"/>
                  </a:moveTo>
                  <a:cubicBezTo>
                    <a:pt x="30" y="138"/>
                    <a:pt x="25" y="142"/>
                    <a:pt x="16" y="142"/>
                  </a:cubicBezTo>
                  <a:cubicBezTo>
                    <a:pt x="7" y="142"/>
                    <a:pt x="0" y="139"/>
                    <a:pt x="0" y="139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8" y="0"/>
                    <a:pt x="18" y="0"/>
                    <a:pt x="18" y="0"/>
                  </a:cubicBezTo>
                  <a:lnTo>
                    <a:pt x="30" y="138"/>
                  </a:ln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5" name="深度视觉·原创设计 https://www.docer.com/works?userid=22383862"/>
            <p:cNvSpPr/>
            <p:nvPr/>
          </p:nvSpPr>
          <p:spPr bwMode="auto">
            <a:xfrm>
              <a:off x="2498862" y="3443651"/>
              <a:ext cx="88900" cy="117475"/>
            </a:xfrm>
            <a:custGeom>
              <a:avLst/>
              <a:gdLst>
                <a:gd name="T0" fmla="*/ 0 w 9"/>
                <a:gd name="T1" fmla="*/ 0 h 12"/>
                <a:gd name="T2" fmla="*/ 0 w 9"/>
                <a:gd name="T3" fmla="*/ 7 h 12"/>
                <a:gd name="T4" fmla="*/ 9 w 9"/>
                <a:gd name="T5" fmla="*/ 12 h 12"/>
                <a:gd name="T6" fmla="*/ 9 w 9"/>
                <a:gd name="T7" fmla="*/ 4 h 12"/>
                <a:gd name="T8" fmla="*/ 0 w 9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2">
                  <a:moveTo>
                    <a:pt x="0" y="0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3" y="9"/>
                    <a:pt x="6" y="11"/>
                    <a:pt x="9" y="12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6" y="3"/>
                    <a:pt x="3" y="1"/>
                    <a:pt x="0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6" name="深度视觉·原创设计 https://www.docer.com/works?userid=22383862"/>
            <p:cNvSpPr/>
            <p:nvPr/>
          </p:nvSpPr>
          <p:spPr bwMode="auto">
            <a:xfrm>
              <a:off x="2470287" y="3699239"/>
              <a:ext cx="155575" cy="234950"/>
            </a:xfrm>
            <a:custGeom>
              <a:avLst/>
              <a:gdLst>
                <a:gd name="T0" fmla="*/ 1 w 16"/>
                <a:gd name="T1" fmla="*/ 0 h 24"/>
                <a:gd name="T2" fmla="*/ 0 w 16"/>
                <a:gd name="T3" fmla="*/ 12 h 24"/>
                <a:gd name="T4" fmla="*/ 16 w 16"/>
                <a:gd name="T5" fmla="*/ 24 h 24"/>
                <a:gd name="T6" fmla="*/ 14 w 16"/>
                <a:gd name="T7" fmla="*/ 8 h 24"/>
                <a:gd name="T8" fmla="*/ 1 w 16"/>
                <a:gd name="T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24">
                  <a:moveTo>
                    <a:pt x="1" y="0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5" y="16"/>
                    <a:pt x="11" y="20"/>
                    <a:pt x="16" y="24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0" y="5"/>
                    <a:pt x="5" y="3"/>
                    <a:pt x="1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7" name="深度视觉·原创设计 https://www.docer.com/works?userid=22383862"/>
            <p:cNvSpPr/>
            <p:nvPr/>
          </p:nvSpPr>
          <p:spPr bwMode="auto">
            <a:xfrm>
              <a:off x="2244862" y="2345101"/>
              <a:ext cx="411162" cy="950913"/>
            </a:xfrm>
            <a:custGeom>
              <a:avLst/>
              <a:gdLst>
                <a:gd name="T0" fmla="*/ 29 w 42"/>
                <a:gd name="T1" fmla="*/ 97 h 97"/>
                <a:gd name="T2" fmla="*/ 2 w 42"/>
                <a:gd name="T3" fmla="*/ 0 h 97"/>
                <a:gd name="T4" fmla="*/ 1 w 42"/>
                <a:gd name="T5" fmla="*/ 9 h 97"/>
                <a:gd name="T6" fmla="*/ 29 w 42"/>
                <a:gd name="T7" fmla="*/ 97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2" h="97">
                  <a:moveTo>
                    <a:pt x="29" y="97"/>
                  </a:moveTo>
                  <a:cubicBezTo>
                    <a:pt x="29" y="97"/>
                    <a:pt x="42" y="77"/>
                    <a:pt x="2" y="0"/>
                  </a:cubicBezTo>
                  <a:cubicBezTo>
                    <a:pt x="2" y="0"/>
                    <a:pt x="0" y="5"/>
                    <a:pt x="1" y="9"/>
                  </a:cubicBezTo>
                  <a:cubicBezTo>
                    <a:pt x="1" y="14"/>
                    <a:pt x="23" y="89"/>
                    <a:pt x="29" y="97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8" name="深度视觉·原创设计 https://www.docer.com/works?userid=22383862"/>
            <p:cNvSpPr/>
            <p:nvPr/>
          </p:nvSpPr>
          <p:spPr bwMode="auto">
            <a:xfrm>
              <a:off x="1578112" y="3199176"/>
              <a:ext cx="960437" cy="420688"/>
            </a:xfrm>
            <a:custGeom>
              <a:avLst/>
              <a:gdLst>
                <a:gd name="T0" fmla="*/ 98 w 98"/>
                <a:gd name="T1" fmla="*/ 13 h 43"/>
                <a:gd name="T2" fmla="*/ 0 w 98"/>
                <a:gd name="T3" fmla="*/ 41 h 43"/>
                <a:gd name="T4" fmla="*/ 10 w 98"/>
                <a:gd name="T5" fmla="*/ 42 h 43"/>
                <a:gd name="T6" fmla="*/ 98 w 98"/>
                <a:gd name="T7" fmla="*/ 1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8" h="43">
                  <a:moveTo>
                    <a:pt x="98" y="13"/>
                  </a:moveTo>
                  <a:cubicBezTo>
                    <a:pt x="98" y="13"/>
                    <a:pt x="77" y="0"/>
                    <a:pt x="0" y="41"/>
                  </a:cubicBezTo>
                  <a:cubicBezTo>
                    <a:pt x="0" y="41"/>
                    <a:pt x="6" y="43"/>
                    <a:pt x="10" y="42"/>
                  </a:cubicBezTo>
                  <a:cubicBezTo>
                    <a:pt x="14" y="42"/>
                    <a:pt x="89" y="20"/>
                    <a:pt x="98" y="13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9" name="深度视觉·原创设计 https://www.docer.com/works?userid=22383862"/>
            <p:cNvSpPr/>
            <p:nvPr/>
          </p:nvSpPr>
          <p:spPr bwMode="auto">
            <a:xfrm>
              <a:off x="2538549" y="3335701"/>
              <a:ext cx="695325" cy="735013"/>
            </a:xfrm>
            <a:custGeom>
              <a:avLst/>
              <a:gdLst>
                <a:gd name="T0" fmla="*/ 3 w 71"/>
                <a:gd name="T1" fmla="*/ 0 h 75"/>
                <a:gd name="T2" fmla="*/ 71 w 71"/>
                <a:gd name="T3" fmla="*/ 75 h 75"/>
                <a:gd name="T4" fmla="*/ 68 w 71"/>
                <a:gd name="T5" fmla="*/ 66 h 75"/>
                <a:gd name="T6" fmla="*/ 3 w 71"/>
                <a:gd name="T7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1" h="75">
                  <a:moveTo>
                    <a:pt x="3" y="0"/>
                  </a:moveTo>
                  <a:cubicBezTo>
                    <a:pt x="3" y="0"/>
                    <a:pt x="0" y="24"/>
                    <a:pt x="71" y="75"/>
                  </a:cubicBezTo>
                  <a:cubicBezTo>
                    <a:pt x="71" y="75"/>
                    <a:pt x="70" y="69"/>
                    <a:pt x="68" y="66"/>
                  </a:cubicBezTo>
                  <a:cubicBezTo>
                    <a:pt x="65" y="62"/>
                    <a:pt x="12" y="5"/>
                    <a:pt x="3" y="0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10" name="深度视觉·原创设计 https://www.docer.com/works?userid=22383862"/>
            <p:cNvSpPr>
              <a:spLocks noChangeArrowheads="1"/>
            </p:cNvSpPr>
            <p:nvPr/>
          </p:nvSpPr>
          <p:spPr bwMode="auto">
            <a:xfrm>
              <a:off x="2489337" y="3257914"/>
              <a:ext cx="107950" cy="107950"/>
            </a:xfrm>
            <a:prstGeom prst="ellipse">
              <a:avLst/>
            </a:prstGeom>
            <a:solidFill>
              <a:srgbClr val="F9F2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</p:grpSp>
      <p:grpSp>
        <p:nvGrpSpPr>
          <p:cNvPr id="11" name="深度视觉·原创设计 https://www.docer.com/works?userid=22383862"/>
          <p:cNvGrpSpPr/>
          <p:nvPr/>
        </p:nvGrpSpPr>
        <p:grpSpPr>
          <a:xfrm>
            <a:off x="4024708" y="2338932"/>
            <a:ext cx="1615944" cy="2373564"/>
            <a:chOff x="1578112" y="2345101"/>
            <a:chExt cx="1655762" cy="2432050"/>
          </a:xfrm>
        </p:grpSpPr>
        <p:sp>
          <p:nvSpPr>
            <p:cNvPr id="12" name="深度视觉·原创设计 https://www.docer.com/works?userid=22383862"/>
            <p:cNvSpPr>
              <a:spLocks noChangeArrowheads="1"/>
            </p:cNvSpPr>
            <p:nvPr/>
          </p:nvSpPr>
          <p:spPr bwMode="auto">
            <a:xfrm>
              <a:off x="2303599" y="4561251"/>
              <a:ext cx="479425" cy="21590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13" name="深度视觉·原创设计 https://www.docer.com/works?userid=22383862"/>
            <p:cNvSpPr/>
            <p:nvPr/>
          </p:nvSpPr>
          <p:spPr bwMode="auto">
            <a:xfrm>
              <a:off x="2390912" y="3296014"/>
              <a:ext cx="293687" cy="1393825"/>
            </a:xfrm>
            <a:custGeom>
              <a:avLst/>
              <a:gdLst>
                <a:gd name="T0" fmla="*/ 30 w 30"/>
                <a:gd name="T1" fmla="*/ 138 h 142"/>
                <a:gd name="T2" fmla="*/ 16 w 30"/>
                <a:gd name="T3" fmla="*/ 142 h 142"/>
                <a:gd name="T4" fmla="*/ 0 w 30"/>
                <a:gd name="T5" fmla="*/ 139 h 142"/>
                <a:gd name="T6" fmla="*/ 13 w 30"/>
                <a:gd name="T7" fmla="*/ 0 h 142"/>
                <a:gd name="T8" fmla="*/ 18 w 30"/>
                <a:gd name="T9" fmla="*/ 0 h 142"/>
                <a:gd name="T10" fmla="*/ 30 w 30"/>
                <a:gd name="T11" fmla="*/ 13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142">
                  <a:moveTo>
                    <a:pt x="30" y="138"/>
                  </a:moveTo>
                  <a:cubicBezTo>
                    <a:pt x="30" y="138"/>
                    <a:pt x="25" y="142"/>
                    <a:pt x="16" y="142"/>
                  </a:cubicBezTo>
                  <a:cubicBezTo>
                    <a:pt x="7" y="142"/>
                    <a:pt x="0" y="139"/>
                    <a:pt x="0" y="139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8" y="0"/>
                    <a:pt x="18" y="0"/>
                    <a:pt x="18" y="0"/>
                  </a:cubicBezTo>
                  <a:lnTo>
                    <a:pt x="30" y="138"/>
                  </a:ln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14" name="深度视觉·原创设计 https://www.docer.com/works?userid=22383862"/>
            <p:cNvSpPr/>
            <p:nvPr/>
          </p:nvSpPr>
          <p:spPr bwMode="auto">
            <a:xfrm>
              <a:off x="2498862" y="3443651"/>
              <a:ext cx="88900" cy="117475"/>
            </a:xfrm>
            <a:custGeom>
              <a:avLst/>
              <a:gdLst>
                <a:gd name="T0" fmla="*/ 0 w 9"/>
                <a:gd name="T1" fmla="*/ 0 h 12"/>
                <a:gd name="T2" fmla="*/ 0 w 9"/>
                <a:gd name="T3" fmla="*/ 7 h 12"/>
                <a:gd name="T4" fmla="*/ 9 w 9"/>
                <a:gd name="T5" fmla="*/ 12 h 12"/>
                <a:gd name="T6" fmla="*/ 9 w 9"/>
                <a:gd name="T7" fmla="*/ 4 h 12"/>
                <a:gd name="T8" fmla="*/ 0 w 9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2">
                  <a:moveTo>
                    <a:pt x="0" y="0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3" y="9"/>
                    <a:pt x="6" y="11"/>
                    <a:pt x="9" y="12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6" y="3"/>
                    <a:pt x="3" y="1"/>
                    <a:pt x="0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15" name="深度视觉·原创设计 https://www.docer.com/works?userid=22383862"/>
            <p:cNvSpPr/>
            <p:nvPr/>
          </p:nvSpPr>
          <p:spPr bwMode="auto">
            <a:xfrm>
              <a:off x="2470287" y="3699239"/>
              <a:ext cx="155575" cy="234950"/>
            </a:xfrm>
            <a:custGeom>
              <a:avLst/>
              <a:gdLst>
                <a:gd name="T0" fmla="*/ 1 w 16"/>
                <a:gd name="T1" fmla="*/ 0 h 24"/>
                <a:gd name="T2" fmla="*/ 0 w 16"/>
                <a:gd name="T3" fmla="*/ 12 h 24"/>
                <a:gd name="T4" fmla="*/ 16 w 16"/>
                <a:gd name="T5" fmla="*/ 24 h 24"/>
                <a:gd name="T6" fmla="*/ 14 w 16"/>
                <a:gd name="T7" fmla="*/ 8 h 24"/>
                <a:gd name="T8" fmla="*/ 1 w 16"/>
                <a:gd name="T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24">
                  <a:moveTo>
                    <a:pt x="1" y="0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5" y="16"/>
                    <a:pt x="11" y="20"/>
                    <a:pt x="16" y="24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0" y="5"/>
                    <a:pt x="5" y="3"/>
                    <a:pt x="1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16" name="深度视觉·原创设计 https://www.docer.com/works?userid=22383862"/>
            <p:cNvSpPr/>
            <p:nvPr/>
          </p:nvSpPr>
          <p:spPr bwMode="auto">
            <a:xfrm>
              <a:off x="2244862" y="2345101"/>
              <a:ext cx="411162" cy="950913"/>
            </a:xfrm>
            <a:custGeom>
              <a:avLst/>
              <a:gdLst>
                <a:gd name="T0" fmla="*/ 29 w 42"/>
                <a:gd name="T1" fmla="*/ 97 h 97"/>
                <a:gd name="T2" fmla="*/ 2 w 42"/>
                <a:gd name="T3" fmla="*/ 0 h 97"/>
                <a:gd name="T4" fmla="*/ 1 w 42"/>
                <a:gd name="T5" fmla="*/ 9 h 97"/>
                <a:gd name="T6" fmla="*/ 29 w 42"/>
                <a:gd name="T7" fmla="*/ 97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2" h="97">
                  <a:moveTo>
                    <a:pt x="29" y="97"/>
                  </a:moveTo>
                  <a:cubicBezTo>
                    <a:pt x="29" y="97"/>
                    <a:pt x="42" y="77"/>
                    <a:pt x="2" y="0"/>
                  </a:cubicBezTo>
                  <a:cubicBezTo>
                    <a:pt x="2" y="0"/>
                    <a:pt x="0" y="5"/>
                    <a:pt x="1" y="9"/>
                  </a:cubicBezTo>
                  <a:cubicBezTo>
                    <a:pt x="1" y="14"/>
                    <a:pt x="23" y="89"/>
                    <a:pt x="29" y="97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17" name="深度视觉·原创设计 https://www.docer.com/works?userid=22383862"/>
            <p:cNvSpPr/>
            <p:nvPr/>
          </p:nvSpPr>
          <p:spPr bwMode="auto">
            <a:xfrm>
              <a:off x="1578112" y="3199176"/>
              <a:ext cx="960437" cy="420688"/>
            </a:xfrm>
            <a:custGeom>
              <a:avLst/>
              <a:gdLst>
                <a:gd name="T0" fmla="*/ 98 w 98"/>
                <a:gd name="T1" fmla="*/ 13 h 43"/>
                <a:gd name="T2" fmla="*/ 0 w 98"/>
                <a:gd name="T3" fmla="*/ 41 h 43"/>
                <a:gd name="T4" fmla="*/ 10 w 98"/>
                <a:gd name="T5" fmla="*/ 42 h 43"/>
                <a:gd name="T6" fmla="*/ 98 w 98"/>
                <a:gd name="T7" fmla="*/ 1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8" h="43">
                  <a:moveTo>
                    <a:pt x="98" y="13"/>
                  </a:moveTo>
                  <a:cubicBezTo>
                    <a:pt x="98" y="13"/>
                    <a:pt x="77" y="0"/>
                    <a:pt x="0" y="41"/>
                  </a:cubicBezTo>
                  <a:cubicBezTo>
                    <a:pt x="0" y="41"/>
                    <a:pt x="6" y="43"/>
                    <a:pt x="10" y="42"/>
                  </a:cubicBezTo>
                  <a:cubicBezTo>
                    <a:pt x="14" y="42"/>
                    <a:pt x="89" y="20"/>
                    <a:pt x="98" y="13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18" name="深度视觉·原创设计 https://www.docer.com/works?userid=22383862"/>
            <p:cNvSpPr/>
            <p:nvPr/>
          </p:nvSpPr>
          <p:spPr bwMode="auto">
            <a:xfrm>
              <a:off x="2538549" y="3335701"/>
              <a:ext cx="695325" cy="735013"/>
            </a:xfrm>
            <a:custGeom>
              <a:avLst/>
              <a:gdLst>
                <a:gd name="T0" fmla="*/ 3 w 71"/>
                <a:gd name="T1" fmla="*/ 0 h 75"/>
                <a:gd name="T2" fmla="*/ 71 w 71"/>
                <a:gd name="T3" fmla="*/ 75 h 75"/>
                <a:gd name="T4" fmla="*/ 68 w 71"/>
                <a:gd name="T5" fmla="*/ 66 h 75"/>
                <a:gd name="T6" fmla="*/ 3 w 71"/>
                <a:gd name="T7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1" h="75">
                  <a:moveTo>
                    <a:pt x="3" y="0"/>
                  </a:moveTo>
                  <a:cubicBezTo>
                    <a:pt x="3" y="0"/>
                    <a:pt x="0" y="24"/>
                    <a:pt x="71" y="75"/>
                  </a:cubicBezTo>
                  <a:cubicBezTo>
                    <a:pt x="71" y="75"/>
                    <a:pt x="70" y="69"/>
                    <a:pt x="68" y="66"/>
                  </a:cubicBezTo>
                  <a:cubicBezTo>
                    <a:pt x="65" y="62"/>
                    <a:pt x="12" y="5"/>
                    <a:pt x="3" y="0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19" name="深度视觉·原创设计 https://www.docer.com/works?userid=22383862"/>
            <p:cNvSpPr>
              <a:spLocks noChangeArrowheads="1"/>
            </p:cNvSpPr>
            <p:nvPr/>
          </p:nvSpPr>
          <p:spPr bwMode="auto">
            <a:xfrm>
              <a:off x="2489337" y="3257914"/>
              <a:ext cx="107950" cy="107950"/>
            </a:xfrm>
            <a:prstGeom prst="ellipse">
              <a:avLst/>
            </a:prstGeom>
            <a:solidFill>
              <a:srgbClr val="F9F2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</p:grpSp>
      <p:grpSp>
        <p:nvGrpSpPr>
          <p:cNvPr id="20" name="深度视觉·原创设计 https://www.docer.com/works?userid=22383862"/>
          <p:cNvGrpSpPr/>
          <p:nvPr/>
        </p:nvGrpSpPr>
        <p:grpSpPr>
          <a:xfrm>
            <a:off x="5973248" y="2102320"/>
            <a:ext cx="1777032" cy="2610176"/>
            <a:chOff x="1578112" y="2345101"/>
            <a:chExt cx="1655762" cy="2432050"/>
          </a:xfrm>
        </p:grpSpPr>
        <p:sp>
          <p:nvSpPr>
            <p:cNvPr id="21" name="深度视觉·原创设计 https://www.docer.com/works?userid=22383862"/>
            <p:cNvSpPr>
              <a:spLocks noChangeArrowheads="1"/>
            </p:cNvSpPr>
            <p:nvPr/>
          </p:nvSpPr>
          <p:spPr bwMode="auto">
            <a:xfrm>
              <a:off x="2303599" y="4561251"/>
              <a:ext cx="479425" cy="21590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22" name="深度视觉·原创设计 https://www.docer.com/works?userid=22383862"/>
            <p:cNvSpPr/>
            <p:nvPr/>
          </p:nvSpPr>
          <p:spPr bwMode="auto">
            <a:xfrm>
              <a:off x="2390912" y="3296014"/>
              <a:ext cx="293687" cy="1393825"/>
            </a:xfrm>
            <a:custGeom>
              <a:avLst/>
              <a:gdLst>
                <a:gd name="T0" fmla="*/ 30 w 30"/>
                <a:gd name="T1" fmla="*/ 138 h 142"/>
                <a:gd name="T2" fmla="*/ 16 w 30"/>
                <a:gd name="T3" fmla="*/ 142 h 142"/>
                <a:gd name="T4" fmla="*/ 0 w 30"/>
                <a:gd name="T5" fmla="*/ 139 h 142"/>
                <a:gd name="T6" fmla="*/ 13 w 30"/>
                <a:gd name="T7" fmla="*/ 0 h 142"/>
                <a:gd name="T8" fmla="*/ 18 w 30"/>
                <a:gd name="T9" fmla="*/ 0 h 142"/>
                <a:gd name="T10" fmla="*/ 30 w 30"/>
                <a:gd name="T11" fmla="*/ 13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142">
                  <a:moveTo>
                    <a:pt x="30" y="138"/>
                  </a:moveTo>
                  <a:cubicBezTo>
                    <a:pt x="30" y="138"/>
                    <a:pt x="25" y="142"/>
                    <a:pt x="16" y="142"/>
                  </a:cubicBezTo>
                  <a:cubicBezTo>
                    <a:pt x="7" y="142"/>
                    <a:pt x="0" y="139"/>
                    <a:pt x="0" y="139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8" y="0"/>
                    <a:pt x="18" y="0"/>
                    <a:pt x="18" y="0"/>
                  </a:cubicBezTo>
                  <a:lnTo>
                    <a:pt x="30" y="138"/>
                  </a:ln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23" name="深度视觉·原创设计 https://www.docer.com/works?userid=22383862"/>
            <p:cNvSpPr/>
            <p:nvPr/>
          </p:nvSpPr>
          <p:spPr bwMode="auto">
            <a:xfrm>
              <a:off x="2498862" y="3443651"/>
              <a:ext cx="88900" cy="117475"/>
            </a:xfrm>
            <a:custGeom>
              <a:avLst/>
              <a:gdLst>
                <a:gd name="T0" fmla="*/ 0 w 9"/>
                <a:gd name="T1" fmla="*/ 0 h 12"/>
                <a:gd name="T2" fmla="*/ 0 w 9"/>
                <a:gd name="T3" fmla="*/ 7 h 12"/>
                <a:gd name="T4" fmla="*/ 9 w 9"/>
                <a:gd name="T5" fmla="*/ 12 h 12"/>
                <a:gd name="T6" fmla="*/ 9 w 9"/>
                <a:gd name="T7" fmla="*/ 4 h 12"/>
                <a:gd name="T8" fmla="*/ 0 w 9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2">
                  <a:moveTo>
                    <a:pt x="0" y="0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3" y="9"/>
                    <a:pt x="6" y="11"/>
                    <a:pt x="9" y="12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6" y="3"/>
                    <a:pt x="3" y="1"/>
                    <a:pt x="0" y="0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24" name="深度视觉·原创设计 https://www.docer.com/works?userid=22383862"/>
            <p:cNvSpPr/>
            <p:nvPr/>
          </p:nvSpPr>
          <p:spPr bwMode="auto">
            <a:xfrm>
              <a:off x="2470287" y="3699239"/>
              <a:ext cx="155575" cy="234950"/>
            </a:xfrm>
            <a:custGeom>
              <a:avLst/>
              <a:gdLst>
                <a:gd name="T0" fmla="*/ 1 w 16"/>
                <a:gd name="T1" fmla="*/ 0 h 24"/>
                <a:gd name="T2" fmla="*/ 0 w 16"/>
                <a:gd name="T3" fmla="*/ 12 h 24"/>
                <a:gd name="T4" fmla="*/ 16 w 16"/>
                <a:gd name="T5" fmla="*/ 24 h 24"/>
                <a:gd name="T6" fmla="*/ 14 w 16"/>
                <a:gd name="T7" fmla="*/ 8 h 24"/>
                <a:gd name="T8" fmla="*/ 1 w 16"/>
                <a:gd name="T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24">
                  <a:moveTo>
                    <a:pt x="1" y="0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5" y="16"/>
                    <a:pt x="11" y="20"/>
                    <a:pt x="16" y="24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0" y="5"/>
                    <a:pt x="5" y="3"/>
                    <a:pt x="1" y="0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25" name="深度视觉·原创设计 https://www.docer.com/works?userid=22383862"/>
            <p:cNvSpPr/>
            <p:nvPr/>
          </p:nvSpPr>
          <p:spPr bwMode="auto">
            <a:xfrm>
              <a:off x="2244862" y="2345101"/>
              <a:ext cx="411162" cy="950913"/>
            </a:xfrm>
            <a:custGeom>
              <a:avLst/>
              <a:gdLst>
                <a:gd name="T0" fmla="*/ 29 w 42"/>
                <a:gd name="T1" fmla="*/ 97 h 97"/>
                <a:gd name="T2" fmla="*/ 2 w 42"/>
                <a:gd name="T3" fmla="*/ 0 h 97"/>
                <a:gd name="T4" fmla="*/ 1 w 42"/>
                <a:gd name="T5" fmla="*/ 9 h 97"/>
                <a:gd name="T6" fmla="*/ 29 w 42"/>
                <a:gd name="T7" fmla="*/ 97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2" h="97">
                  <a:moveTo>
                    <a:pt x="29" y="97"/>
                  </a:moveTo>
                  <a:cubicBezTo>
                    <a:pt x="29" y="97"/>
                    <a:pt x="42" y="77"/>
                    <a:pt x="2" y="0"/>
                  </a:cubicBezTo>
                  <a:cubicBezTo>
                    <a:pt x="2" y="0"/>
                    <a:pt x="0" y="5"/>
                    <a:pt x="1" y="9"/>
                  </a:cubicBezTo>
                  <a:cubicBezTo>
                    <a:pt x="1" y="14"/>
                    <a:pt x="23" y="89"/>
                    <a:pt x="29" y="97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26" name="深度视觉·原创设计 https://www.docer.com/works?userid=22383862"/>
            <p:cNvSpPr/>
            <p:nvPr/>
          </p:nvSpPr>
          <p:spPr bwMode="auto">
            <a:xfrm>
              <a:off x="1578112" y="3199176"/>
              <a:ext cx="960437" cy="420688"/>
            </a:xfrm>
            <a:custGeom>
              <a:avLst/>
              <a:gdLst>
                <a:gd name="T0" fmla="*/ 98 w 98"/>
                <a:gd name="T1" fmla="*/ 13 h 43"/>
                <a:gd name="T2" fmla="*/ 0 w 98"/>
                <a:gd name="T3" fmla="*/ 41 h 43"/>
                <a:gd name="T4" fmla="*/ 10 w 98"/>
                <a:gd name="T5" fmla="*/ 42 h 43"/>
                <a:gd name="T6" fmla="*/ 98 w 98"/>
                <a:gd name="T7" fmla="*/ 1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8" h="43">
                  <a:moveTo>
                    <a:pt x="98" y="13"/>
                  </a:moveTo>
                  <a:cubicBezTo>
                    <a:pt x="98" y="13"/>
                    <a:pt x="77" y="0"/>
                    <a:pt x="0" y="41"/>
                  </a:cubicBezTo>
                  <a:cubicBezTo>
                    <a:pt x="0" y="41"/>
                    <a:pt x="6" y="43"/>
                    <a:pt x="10" y="42"/>
                  </a:cubicBezTo>
                  <a:cubicBezTo>
                    <a:pt x="14" y="42"/>
                    <a:pt x="89" y="20"/>
                    <a:pt x="98" y="13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27" name="深度视觉·原创设计 https://www.docer.com/works?userid=22383862"/>
            <p:cNvSpPr/>
            <p:nvPr/>
          </p:nvSpPr>
          <p:spPr bwMode="auto">
            <a:xfrm>
              <a:off x="2538549" y="3335701"/>
              <a:ext cx="695325" cy="735013"/>
            </a:xfrm>
            <a:custGeom>
              <a:avLst/>
              <a:gdLst>
                <a:gd name="T0" fmla="*/ 3 w 71"/>
                <a:gd name="T1" fmla="*/ 0 h 75"/>
                <a:gd name="T2" fmla="*/ 71 w 71"/>
                <a:gd name="T3" fmla="*/ 75 h 75"/>
                <a:gd name="T4" fmla="*/ 68 w 71"/>
                <a:gd name="T5" fmla="*/ 66 h 75"/>
                <a:gd name="T6" fmla="*/ 3 w 71"/>
                <a:gd name="T7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1" h="75">
                  <a:moveTo>
                    <a:pt x="3" y="0"/>
                  </a:moveTo>
                  <a:cubicBezTo>
                    <a:pt x="3" y="0"/>
                    <a:pt x="0" y="24"/>
                    <a:pt x="71" y="75"/>
                  </a:cubicBezTo>
                  <a:cubicBezTo>
                    <a:pt x="71" y="75"/>
                    <a:pt x="70" y="69"/>
                    <a:pt x="68" y="66"/>
                  </a:cubicBezTo>
                  <a:cubicBezTo>
                    <a:pt x="65" y="62"/>
                    <a:pt x="12" y="5"/>
                    <a:pt x="3" y="0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28" name="深度视觉·原创设计 https://www.docer.com/works?userid=22383862"/>
            <p:cNvSpPr>
              <a:spLocks noChangeArrowheads="1"/>
            </p:cNvSpPr>
            <p:nvPr/>
          </p:nvSpPr>
          <p:spPr bwMode="auto">
            <a:xfrm>
              <a:off x="2489337" y="3257914"/>
              <a:ext cx="107950" cy="107950"/>
            </a:xfrm>
            <a:prstGeom prst="ellipse">
              <a:avLst/>
            </a:prstGeom>
            <a:solidFill>
              <a:srgbClr val="F9F2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</p:grpSp>
      <p:grpSp>
        <p:nvGrpSpPr>
          <p:cNvPr id="29" name="深度视觉·原创设计 https://www.docer.com/works?userid=22383862"/>
          <p:cNvGrpSpPr/>
          <p:nvPr/>
        </p:nvGrpSpPr>
        <p:grpSpPr>
          <a:xfrm>
            <a:off x="8014194" y="1499486"/>
            <a:ext cx="2155990" cy="3166806"/>
            <a:chOff x="1578112" y="2345101"/>
            <a:chExt cx="1655762" cy="2432050"/>
          </a:xfrm>
        </p:grpSpPr>
        <p:sp>
          <p:nvSpPr>
            <p:cNvPr id="30" name="深度视觉·原创设计 https://www.docer.com/works?userid=22383862"/>
            <p:cNvSpPr>
              <a:spLocks noChangeArrowheads="1"/>
            </p:cNvSpPr>
            <p:nvPr/>
          </p:nvSpPr>
          <p:spPr bwMode="auto">
            <a:xfrm>
              <a:off x="2303599" y="4561251"/>
              <a:ext cx="479425" cy="21590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31" name="深度视觉·原创设计 https://www.docer.com/works?userid=22383862"/>
            <p:cNvSpPr/>
            <p:nvPr/>
          </p:nvSpPr>
          <p:spPr bwMode="auto">
            <a:xfrm>
              <a:off x="2390912" y="3296014"/>
              <a:ext cx="293687" cy="1393825"/>
            </a:xfrm>
            <a:custGeom>
              <a:avLst/>
              <a:gdLst>
                <a:gd name="T0" fmla="*/ 30 w 30"/>
                <a:gd name="T1" fmla="*/ 138 h 142"/>
                <a:gd name="T2" fmla="*/ 16 w 30"/>
                <a:gd name="T3" fmla="*/ 142 h 142"/>
                <a:gd name="T4" fmla="*/ 0 w 30"/>
                <a:gd name="T5" fmla="*/ 139 h 142"/>
                <a:gd name="T6" fmla="*/ 13 w 30"/>
                <a:gd name="T7" fmla="*/ 0 h 142"/>
                <a:gd name="T8" fmla="*/ 18 w 30"/>
                <a:gd name="T9" fmla="*/ 0 h 142"/>
                <a:gd name="T10" fmla="*/ 30 w 30"/>
                <a:gd name="T11" fmla="*/ 13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142">
                  <a:moveTo>
                    <a:pt x="30" y="138"/>
                  </a:moveTo>
                  <a:cubicBezTo>
                    <a:pt x="30" y="138"/>
                    <a:pt x="25" y="142"/>
                    <a:pt x="16" y="142"/>
                  </a:cubicBezTo>
                  <a:cubicBezTo>
                    <a:pt x="7" y="142"/>
                    <a:pt x="0" y="139"/>
                    <a:pt x="0" y="139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8" y="0"/>
                    <a:pt x="18" y="0"/>
                    <a:pt x="18" y="0"/>
                  </a:cubicBezTo>
                  <a:lnTo>
                    <a:pt x="30" y="138"/>
                  </a:ln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32" name="深度视觉·原创设计 https://www.docer.com/works?userid=22383862"/>
            <p:cNvSpPr/>
            <p:nvPr/>
          </p:nvSpPr>
          <p:spPr bwMode="auto">
            <a:xfrm>
              <a:off x="2498862" y="3443651"/>
              <a:ext cx="88900" cy="117475"/>
            </a:xfrm>
            <a:custGeom>
              <a:avLst/>
              <a:gdLst>
                <a:gd name="T0" fmla="*/ 0 w 9"/>
                <a:gd name="T1" fmla="*/ 0 h 12"/>
                <a:gd name="T2" fmla="*/ 0 w 9"/>
                <a:gd name="T3" fmla="*/ 7 h 12"/>
                <a:gd name="T4" fmla="*/ 9 w 9"/>
                <a:gd name="T5" fmla="*/ 12 h 12"/>
                <a:gd name="T6" fmla="*/ 9 w 9"/>
                <a:gd name="T7" fmla="*/ 4 h 12"/>
                <a:gd name="T8" fmla="*/ 0 w 9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2">
                  <a:moveTo>
                    <a:pt x="0" y="0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3" y="9"/>
                    <a:pt x="6" y="11"/>
                    <a:pt x="9" y="12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6" y="3"/>
                    <a:pt x="3" y="1"/>
                    <a:pt x="0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33" name="深度视觉·原创设计 https://www.docer.com/works?userid=22383862"/>
            <p:cNvSpPr/>
            <p:nvPr/>
          </p:nvSpPr>
          <p:spPr bwMode="auto">
            <a:xfrm>
              <a:off x="2470287" y="3699239"/>
              <a:ext cx="155575" cy="234950"/>
            </a:xfrm>
            <a:custGeom>
              <a:avLst/>
              <a:gdLst>
                <a:gd name="T0" fmla="*/ 1 w 16"/>
                <a:gd name="T1" fmla="*/ 0 h 24"/>
                <a:gd name="T2" fmla="*/ 0 w 16"/>
                <a:gd name="T3" fmla="*/ 12 h 24"/>
                <a:gd name="T4" fmla="*/ 16 w 16"/>
                <a:gd name="T5" fmla="*/ 24 h 24"/>
                <a:gd name="T6" fmla="*/ 14 w 16"/>
                <a:gd name="T7" fmla="*/ 8 h 24"/>
                <a:gd name="T8" fmla="*/ 1 w 16"/>
                <a:gd name="T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24">
                  <a:moveTo>
                    <a:pt x="1" y="0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5" y="16"/>
                    <a:pt x="11" y="20"/>
                    <a:pt x="16" y="24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0" y="5"/>
                    <a:pt x="5" y="3"/>
                    <a:pt x="1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34" name="深度视觉·原创设计 https://www.docer.com/works?userid=22383862"/>
            <p:cNvSpPr/>
            <p:nvPr/>
          </p:nvSpPr>
          <p:spPr bwMode="auto">
            <a:xfrm>
              <a:off x="2244862" y="2345101"/>
              <a:ext cx="411162" cy="950913"/>
            </a:xfrm>
            <a:custGeom>
              <a:avLst/>
              <a:gdLst>
                <a:gd name="T0" fmla="*/ 29 w 42"/>
                <a:gd name="T1" fmla="*/ 97 h 97"/>
                <a:gd name="T2" fmla="*/ 2 w 42"/>
                <a:gd name="T3" fmla="*/ 0 h 97"/>
                <a:gd name="T4" fmla="*/ 1 w 42"/>
                <a:gd name="T5" fmla="*/ 9 h 97"/>
                <a:gd name="T6" fmla="*/ 29 w 42"/>
                <a:gd name="T7" fmla="*/ 97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2" h="97">
                  <a:moveTo>
                    <a:pt x="29" y="97"/>
                  </a:moveTo>
                  <a:cubicBezTo>
                    <a:pt x="29" y="97"/>
                    <a:pt x="42" y="77"/>
                    <a:pt x="2" y="0"/>
                  </a:cubicBezTo>
                  <a:cubicBezTo>
                    <a:pt x="2" y="0"/>
                    <a:pt x="0" y="5"/>
                    <a:pt x="1" y="9"/>
                  </a:cubicBezTo>
                  <a:cubicBezTo>
                    <a:pt x="1" y="14"/>
                    <a:pt x="23" y="89"/>
                    <a:pt x="29" y="97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35" name="深度视觉·原创设计 https://www.docer.com/works?userid=22383862"/>
            <p:cNvSpPr/>
            <p:nvPr/>
          </p:nvSpPr>
          <p:spPr bwMode="auto">
            <a:xfrm>
              <a:off x="1578112" y="3199176"/>
              <a:ext cx="960437" cy="420688"/>
            </a:xfrm>
            <a:custGeom>
              <a:avLst/>
              <a:gdLst>
                <a:gd name="T0" fmla="*/ 98 w 98"/>
                <a:gd name="T1" fmla="*/ 13 h 43"/>
                <a:gd name="T2" fmla="*/ 0 w 98"/>
                <a:gd name="T3" fmla="*/ 41 h 43"/>
                <a:gd name="T4" fmla="*/ 10 w 98"/>
                <a:gd name="T5" fmla="*/ 42 h 43"/>
                <a:gd name="T6" fmla="*/ 98 w 98"/>
                <a:gd name="T7" fmla="*/ 1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8" h="43">
                  <a:moveTo>
                    <a:pt x="98" y="13"/>
                  </a:moveTo>
                  <a:cubicBezTo>
                    <a:pt x="98" y="13"/>
                    <a:pt x="77" y="0"/>
                    <a:pt x="0" y="41"/>
                  </a:cubicBezTo>
                  <a:cubicBezTo>
                    <a:pt x="0" y="41"/>
                    <a:pt x="6" y="43"/>
                    <a:pt x="10" y="42"/>
                  </a:cubicBezTo>
                  <a:cubicBezTo>
                    <a:pt x="14" y="42"/>
                    <a:pt x="89" y="20"/>
                    <a:pt x="98" y="13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36" name="深度视觉·原创设计 https://www.docer.com/works?userid=22383862"/>
            <p:cNvSpPr/>
            <p:nvPr/>
          </p:nvSpPr>
          <p:spPr bwMode="auto">
            <a:xfrm>
              <a:off x="2538549" y="3335701"/>
              <a:ext cx="695325" cy="735013"/>
            </a:xfrm>
            <a:custGeom>
              <a:avLst/>
              <a:gdLst>
                <a:gd name="T0" fmla="*/ 3 w 71"/>
                <a:gd name="T1" fmla="*/ 0 h 75"/>
                <a:gd name="T2" fmla="*/ 71 w 71"/>
                <a:gd name="T3" fmla="*/ 75 h 75"/>
                <a:gd name="T4" fmla="*/ 68 w 71"/>
                <a:gd name="T5" fmla="*/ 66 h 75"/>
                <a:gd name="T6" fmla="*/ 3 w 71"/>
                <a:gd name="T7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1" h="75">
                  <a:moveTo>
                    <a:pt x="3" y="0"/>
                  </a:moveTo>
                  <a:cubicBezTo>
                    <a:pt x="3" y="0"/>
                    <a:pt x="0" y="24"/>
                    <a:pt x="71" y="75"/>
                  </a:cubicBezTo>
                  <a:cubicBezTo>
                    <a:pt x="71" y="75"/>
                    <a:pt x="70" y="69"/>
                    <a:pt x="68" y="66"/>
                  </a:cubicBezTo>
                  <a:cubicBezTo>
                    <a:pt x="65" y="62"/>
                    <a:pt x="12" y="5"/>
                    <a:pt x="3" y="0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37" name="深度视觉·原创设计 https://www.docer.com/works?userid=22383862"/>
            <p:cNvSpPr>
              <a:spLocks noChangeArrowheads="1"/>
            </p:cNvSpPr>
            <p:nvPr/>
          </p:nvSpPr>
          <p:spPr bwMode="auto">
            <a:xfrm>
              <a:off x="2489337" y="3257914"/>
              <a:ext cx="107950" cy="107950"/>
            </a:xfrm>
            <a:prstGeom prst="ellipse">
              <a:avLst/>
            </a:prstGeom>
            <a:solidFill>
              <a:srgbClr val="F9F2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</p:grpSp>
      <p:sp>
        <p:nvSpPr>
          <p:cNvPr id="38" name="深度视觉·原创设计 https://www.docer.com/works?userid=22383862"/>
          <p:cNvSpPr/>
          <p:nvPr/>
        </p:nvSpPr>
        <p:spPr>
          <a:xfrm>
            <a:off x="2357125" y="3859875"/>
            <a:ext cx="617583" cy="617583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39" name="深度视觉·原创设计 https://www.docer.com/works?userid=22383862"/>
          <p:cNvSpPr/>
          <p:nvPr/>
        </p:nvSpPr>
        <p:spPr>
          <a:xfrm>
            <a:off x="4290286" y="3705742"/>
            <a:ext cx="617583" cy="61758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40" name="深度视觉·原创设计 https://www.docer.com/works?userid=22383862"/>
          <p:cNvSpPr/>
          <p:nvPr/>
        </p:nvSpPr>
        <p:spPr>
          <a:xfrm>
            <a:off x="6326820" y="3602987"/>
            <a:ext cx="617583" cy="617583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41" name="深度视觉·原创设计 https://www.docer.com/works?userid=22383862"/>
          <p:cNvSpPr/>
          <p:nvPr/>
        </p:nvSpPr>
        <p:spPr>
          <a:xfrm>
            <a:off x="8611544" y="3397476"/>
            <a:ext cx="617583" cy="617583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42" name="深度视觉·原创设计 https://www.docer.com/works?userid=22383862"/>
          <p:cNvSpPr txBox="1"/>
          <p:nvPr/>
        </p:nvSpPr>
        <p:spPr>
          <a:xfrm>
            <a:off x="2337968" y="3969668"/>
            <a:ext cx="666931" cy="3885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1400" b="1" dirty="0">
                <a:solidFill>
                  <a:schemeClr val="bg2"/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cs typeface="Lato" panose="020F0502020204030203" pitchFamily="34" charset="0"/>
                <a:sym typeface="汉仪正圆-55W" panose="00020600040101010101" pitchFamily="18" charset="-122"/>
              </a:rPr>
              <a:t>45%</a:t>
            </a:r>
            <a:endParaRPr lang="en-US" sz="1400" b="1" dirty="0">
              <a:solidFill>
                <a:schemeClr val="bg2"/>
              </a:solidFill>
              <a:latin typeface="汉仪正圆-55W" panose="00020600040101010101" pitchFamily="18" charset="-122"/>
              <a:ea typeface="汉仪正圆-55W" panose="00020600040101010101" pitchFamily="18" charset="-122"/>
              <a:cs typeface="Lato" panose="020F0502020204030203" pitchFamily="34" charset="0"/>
              <a:sym typeface="汉仪正圆-55W" panose="00020600040101010101" pitchFamily="18" charset="-122"/>
            </a:endParaRPr>
          </a:p>
        </p:txBody>
      </p:sp>
      <p:sp>
        <p:nvSpPr>
          <p:cNvPr id="43" name="深度视觉·原创设计 https://www.docer.com/works?userid=22383862"/>
          <p:cNvSpPr txBox="1"/>
          <p:nvPr/>
        </p:nvSpPr>
        <p:spPr>
          <a:xfrm>
            <a:off x="4280967" y="3789310"/>
            <a:ext cx="666931" cy="3885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1400" b="1" dirty="0">
                <a:solidFill>
                  <a:schemeClr val="bg2"/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cs typeface="Lato" panose="020F0502020204030203" pitchFamily="34" charset="0"/>
                <a:sym typeface="汉仪正圆-55W" panose="00020600040101010101" pitchFamily="18" charset="-122"/>
              </a:rPr>
              <a:t>45%</a:t>
            </a:r>
            <a:endParaRPr lang="en-US" sz="1400" b="1" dirty="0">
              <a:solidFill>
                <a:schemeClr val="bg2"/>
              </a:solidFill>
              <a:latin typeface="汉仪正圆-55W" panose="00020600040101010101" pitchFamily="18" charset="-122"/>
              <a:ea typeface="汉仪正圆-55W" panose="00020600040101010101" pitchFamily="18" charset="-122"/>
              <a:cs typeface="Lato" panose="020F0502020204030203" pitchFamily="34" charset="0"/>
              <a:sym typeface="汉仪正圆-55W" panose="00020600040101010101" pitchFamily="18" charset="-122"/>
            </a:endParaRPr>
          </a:p>
        </p:txBody>
      </p:sp>
      <p:sp>
        <p:nvSpPr>
          <p:cNvPr id="44" name="深度视觉·原创设计 https://www.docer.com/works?userid=22383862"/>
          <p:cNvSpPr txBox="1"/>
          <p:nvPr/>
        </p:nvSpPr>
        <p:spPr>
          <a:xfrm>
            <a:off x="6315084" y="3705742"/>
            <a:ext cx="666931" cy="3885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1400" b="1" dirty="0">
                <a:solidFill>
                  <a:schemeClr val="bg2"/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cs typeface="Lato" panose="020F0502020204030203" pitchFamily="34" charset="0"/>
                <a:sym typeface="汉仪正圆-55W" panose="00020600040101010101" pitchFamily="18" charset="-122"/>
              </a:rPr>
              <a:t>45%</a:t>
            </a:r>
            <a:endParaRPr lang="en-US" sz="1400" b="1" dirty="0">
              <a:solidFill>
                <a:schemeClr val="bg2"/>
              </a:solidFill>
              <a:latin typeface="汉仪正圆-55W" panose="00020600040101010101" pitchFamily="18" charset="-122"/>
              <a:ea typeface="汉仪正圆-55W" panose="00020600040101010101" pitchFamily="18" charset="-122"/>
              <a:cs typeface="Lato" panose="020F0502020204030203" pitchFamily="34" charset="0"/>
              <a:sym typeface="汉仪正圆-55W" panose="00020600040101010101" pitchFamily="18" charset="-122"/>
            </a:endParaRPr>
          </a:p>
        </p:txBody>
      </p:sp>
      <p:sp>
        <p:nvSpPr>
          <p:cNvPr id="45" name="深度视觉·原创设计 https://www.docer.com/works?userid=22383862"/>
          <p:cNvSpPr txBox="1"/>
          <p:nvPr/>
        </p:nvSpPr>
        <p:spPr>
          <a:xfrm>
            <a:off x="8568301" y="3496280"/>
            <a:ext cx="666931" cy="3885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1400" b="1" dirty="0">
                <a:solidFill>
                  <a:schemeClr val="bg2"/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cs typeface="Lato" panose="020F0502020204030203" pitchFamily="34" charset="0"/>
                <a:sym typeface="汉仪正圆-55W" panose="00020600040101010101" pitchFamily="18" charset="-122"/>
              </a:rPr>
              <a:t>45%</a:t>
            </a:r>
            <a:endParaRPr lang="en-US" sz="1400" b="1" dirty="0">
              <a:solidFill>
                <a:schemeClr val="bg2"/>
              </a:solidFill>
              <a:latin typeface="汉仪正圆-55W" panose="00020600040101010101" pitchFamily="18" charset="-122"/>
              <a:ea typeface="汉仪正圆-55W" panose="00020600040101010101" pitchFamily="18" charset="-122"/>
              <a:cs typeface="Lato" panose="020F0502020204030203" pitchFamily="34" charset="0"/>
              <a:sym typeface="汉仪正圆-55W" panose="00020600040101010101" pitchFamily="18" charset="-122"/>
            </a:endParaRPr>
          </a:p>
        </p:txBody>
      </p:sp>
      <p:sp>
        <p:nvSpPr>
          <p:cNvPr id="46" name="深度视觉·原创设计 https://www.docer.com/works?userid=22383862"/>
          <p:cNvSpPr/>
          <p:nvPr/>
        </p:nvSpPr>
        <p:spPr>
          <a:xfrm>
            <a:off x="1969964" y="5266964"/>
            <a:ext cx="2009488" cy="11169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ts val="2000"/>
              </a:lnSpc>
              <a:defRPr/>
            </a:pPr>
            <a:r>
              <a:rPr lang="zh-CN" altLang="en-US" sz="1200" dirty="0">
                <a:solidFill>
                  <a:schemeClr val="bg1">
                    <a:lumMod val="50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请在此处添加具体内容，文字尽量言简意赅，简单说明即可，不必过于繁琐，注意板面美观度。</a:t>
            </a:r>
            <a:endParaRPr lang="zh-CN" altLang="en-US" sz="1200" dirty="0">
              <a:solidFill>
                <a:schemeClr val="bg1">
                  <a:lumMod val="50000"/>
                </a:schemeClr>
              </a:solidFill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47" name="深度视觉·原创设计 https://www.docer.com/works?userid=22383862"/>
          <p:cNvSpPr/>
          <p:nvPr/>
        </p:nvSpPr>
        <p:spPr>
          <a:xfrm>
            <a:off x="2428434" y="4929779"/>
            <a:ext cx="1092141" cy="3371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600" b="1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汉仪正圆-55W" panose="00020600040101010101" pitchFamily="18" charset="-122"/>
                <a:ea typeface="汉仪正圆-55W" panose="00020600040101010101" pitchFamily="18" charset="-122"/>
                <a:cs typeface="Open Sans" pitchFamily="34" charset="0"/>
                <a:sym typeface="汉仪正圆-55W" panose="00020600040101010101" pitchFamily="18" charset="-122"/>
              </a:rPr>
              <a:t>添加标题</a:t>
            </a:r>
            <a:endParaRPr kumimoji="0" lang="zh-CN" altLang="en-US" sz="16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汉仪正圆-55W" panose="00020600040101010101" pitchFamily="18" charset="-122"/>
              <a:ea typeface="汉仪正圆-55W" panose="00020600040101010101" pitchFamily="18" charset="-122"/>
              <a:cs typeface="Open Sans" pitchFamily="34" charset="0"/>
              <a:sym typeface="汉仪正圆-55W" panose="00020600040101010101" pitchFamily="18" charset="-122"/>
            </a:endParaRPr>
          </a:p>
        </p:txBody>
      </p:sp>
      <p:sp>
        <p:nvSpPr>
          <p:cNvPr id="48" name="深度视觉·原创设计 https://www.docer.com/works?userid=22383862"/>
          <p:cNvSpPr/>
          <p:nvPr/>
        </p:nvSpPr>
        <p:spPr>
          <a:xfrm>
            <a:off x="3963760" y="5266964"/>
            <a:ext cx="2009488" cy="11169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ts val="2000"/>
              </a:lnSpc>
              <a:defRPr/>
            </a:pPr>
            <a:r>
              <a:rPr lang="zh-CN" altLang="en-US" sz="1200" dirty="0">
                <a:solidFill>
                  <a:schemeClr val="bg1">
                    <a:lumMod val="50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请在此处添加具体内容，文字尽量言简意赅，简单说明即可，不必过于繁琐，注意板面美观度。</a:t>
            </a:r>
            <a:endParaRPr lang="zh-CN" altLang="en-US" sz="1200" dirty="0">
              <a:solidFill>
                <a:schemeClr val="bg1">
                  <a:lumMod val="50000"/>
                </a:schemeClr>
              </a:solidFill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49" name="深度视觉·原创设计 https://www.docer.com/works?userid=22383862"/>
          <p:cNvSpPr/>
          <p:nvPr/>
        </p:nvSpPr>
        <p:spPr>
          <a:xfrm>
            <a:off x="4422230" y="4929779"/>
            <a:ext cx="1092141" cy="3371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600" b="1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汉仪正圆-55W" panose="00020600040101010101" pitchFamily="18" charset="-122"/>
                <a:ea typeface="汉仪正圆-55W" panose="00020600040101010101" pitchFamily="18" charset="-122"/>
                <a:cs typeface="Open Sans" pitchFamily="34" charset="0"/>
                <a:sym typeface="汉仪正圆-55W" panose="00020600040101010101" pitchFamily="18" charset="-122"/>
              </a:rPr>
              <a:t>添加标题</a:t>
            </a:r>
            <a:endParaRPr kumimoji="0" lang="zh-CN" altLang="en-US" sz="16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汉仪正圆-55W" panose="00020600040101010101" pitchFamily="18" charset="-122"/>
              <a:ea typeface="汉仪正圆-55W" panose="00020600040101010101" pitchFamily="18" charset="-122"/>
              <a:cs typeface="Open Sans" pitchFamily="34" charset="0"/>
              <a:sym typeface="汉仪正圆-55W" panose="00020600040101010101" pitchFamily="18" charset="-122"/>
            </a:endParaRPr>
          </a:p>
        </p:txBody>
      </p:sp>
      <p:sp>
        <p:nvSpPr>
          <p:cNvPr id="50" name="深度视觉·原创设计 https://www.docer.com/works?userid=22383862"/>
          <p:cNvSpPr/>
          <p:nvPr/>
        </p:nvSpPr>
        <p:spPr>
          <a:xfrm>
            <a:off x="6021528" y="5266964"/>
            <a:ext cx="2009488" cy="11169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ts val="2000"/>
              </a:lnSpc>
              <a:defRPr/>
            </a:pPr>
            <a:r>
              <a:rPr lang="zh-CN" altLang="en-US" sz="1200" dirty="0">
                <a:solidFill>
                  <a:schemeClr val="bg1">
                    <a:lumMod val="50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请在此处添加具体内容，文字尽量言简意赅，简单说明即可，不必过于繁琐，注意板面美观度。</a:t>
            </a:r>
            <a:endParaRPr lang="zh-CN" altLang="en-US" sz="1200" dirty="0">
              <a:solidFill>
                <a:schemeClr val="bg1">
                  <a:lumMod val="50000"/>
                </a:schemeClr>
              </a:solidFill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51" name="深度视觉·原创设计 https://www.docer.com/works?userid=22383862"/>
          <p:cNvSpPr/>
          <p:nvPr/>
        </p:nvSpPr>
        <p:spPr>
          <a:xfrm>
            <a:off x="6479998" y="4929779"/>
            <a:ext cx="1092141" cy="3371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600" b="1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汉仪正圆-55W" panose="00020600040101010101" pitchFamily="18" charset="-122"/>
                <a:ea typeface="汉仪正圆-55W" panose="00020600040101010101" pitchFamily="18" charset="-122"/>
                <a:cs typeface="Open Sans" pitchFamily="34" charset="0"/>
                <a:sym typeface="汉仪正圆-55W" panose="00020600040101010101" pitchFamily="18" charset="-122"/>
              </a:rPr>
              <a:t>添加标题</a:t>
            </a:r>
            <a:endParaRPr kumimoji="0" lang="zh-CN" altLang="en-US" sz="16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汉仪正圆-55W" panose="00020600040101010101" pitchFamily="18" charset="-122"/>
              <a:ea typeface="汉仪正圆-55W" panose="00020600040101010101" pitchFamily="18" charset="-122"/>
              <a:cs typeface="Open Sans" pitchFamily="34" charset="0"/>
              <a:sym typeface="汉仪正圆-55W" panose="00020600040101010101" pitchFamily="18" charset="-122"/>
            </a:endParaRPr>
          </a:p>
        </p:txBody>
      </p:sp>
      <p:sp>
        <p:nvSpPr>
          <p:cNvPr id="52" name="深度视觉·原创设计 https://www.docer.com/works?userid=22383862"/>
          <p:cNvSpPr/>
          <p:nvPr/>
        </p:nvSpPr>
        <p:spPr>
          <a:xfrm>
            <a:off x="8260048" y="5266964"/>
            <a:ext cx="2009488" cy="11169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ts val="2000"/>
              </a:lnSpc>
              <a:defRPr/>
            </a:pPr>
            <a:r>
              <a:rPr lang="zh-CN" altLang="en-US" sz="1200" dirty="0">
                <a:solidFill>
                  <a:schemeClr val="bg1">
                    <a:lumMod val="50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请在此处添加具体内容，文字尽量言简意赅，简单说明即可，不必过于繁琐，注意板面美观度。</a:t>
            </a:r>
            <a:endParaRPr lang="zh-CN" altLang="en-US" sz="1200" dirty="0">
              <a:solidFill>
                <a:schemeClr val="bg1">
                  <a:lumMod val="50000"/>
                </a:schemeClr>
              </a:solidFill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53" name="深度视觉·原创设计 https://www.docer.com/works?userid=22383862"/>
          <p:cNvSpPr/>
          <p:nvPr/>
        </p:nvSpPr>
        <p:spPr>
          <a:xfrm>
            <a:off x="8718518" y="4929779"/>
            <a:ext cx="1092141" cy="3371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600" b="1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汉仪正圆-55W" panose="00020600040101010101" pitchFamily="18" charset="-122"/>
                <a:ea typeface="汉仪正圆-55W" panose="00020600040101010101" pitchFamily="18" charset="-122"/>
                <a:cs typeface="Open Sans" pitchFamily="34" charset="0"/>
                <a:sym typeface="汉仪正圆-55W" panose="00020600040101010101" pitchFamily="18" charset="-122"/>
              </a:rPr>
              <a:t>添加标题</a:t>
            </a:r>
            <a:endParaRPr kumimoji="0" lang="zh-CN" altLang="en-US" sz="16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汉仪正圆-55W" panose="00020600040101010101" pitchFamily="18" charset="-122"/>
              <a:ea typeface="汉仪正圆-55W" panose="00020600040101010101" pitchFamily="18" charset="-122"/>
              <a:cs typeface="Open Sans" pitchFamily="34" charset="0"/>
              <a:sym typeface="汉仪正圆-55W" panose="00020600040101010101" pitchFamily="18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49" presetClass="entr" presetSubtype="0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49" presetClass="entr" presetSubtype="0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9" presetClass="entr" presetSubtype="0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49" presetClass="entr" presetSubtype="0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49" presetClass="entr" presetSubtype="0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49" presetClass="entr" presetSubtype="0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49" presetClass="entr" presetSubtype="0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>
                            <p:stCondLst>
                              <p:cond delay="1000"/>
                            </p:stCondLst>
                            <p:childTnLst>
                              <p:par>
                                <p:cTn id="67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10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0" dur="1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1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10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5" dur="1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6" dur="1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7" fill="hold">
                            <p:stCondLst>
                              <p:cond delay="2000"/>
                            </p:stCondLst>
                            <p:childTnLst>
                              <p:par>
                                <p:cTn id="78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10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1" dur="1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2" dur="1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3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10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6" dur="1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7" dur="1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3000"/>
                            </p:stCondLst>
                            <p:childTnLst>
                              <p:par>
                                <p:cTn id="89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10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2" dur="1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3" dur="1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6" dur="10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7" dur="10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8" dur="10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9" fill="hold">
                            <p:stCondLst>
                              <p:cond delay="4000"/>
                            </p:stCondLst>
                            <p:childTnLst>
                              <p:par>
                                <p:cTn id="100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2" dur="10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3" dur="10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4" dur="10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7" dur="10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8" dur="1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9" dur="1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" grpId="0" animBg="1"/>
      <p:bldP spid="39" grpId="0" animBg="1"/>
      <p:bldP spid="40" grpId="0" animBg="1"/>
      <p:bldP spid="41" grpId="0" animBg="1"/>
      <p:bldP spid="42" grpId="0"/>
      <p:bldP spid="43" grpId="0"/>
      <p:bldP spid="44" grpId="0"/>
      <p:bldP spid="45" grpId="0"/>
      <p:bldP spid="46" grpId="0"/>
      <p:bldP spid="47" grpId="0"/>
      <p:bldP spid="48" grpId="0"/>
      <p:bldP spid="49" grpId="0"/>
      <p:bldP spid="50" grpId="0"/>
      <p:bldP spid="51" grpId="0"/>
      <p:bldP spid="52" grpId="0"/>
      <p:bldP spid="53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深度视觉·原创设计 https://www.docer.com/works?userid=22383862"/>
          <p:cNvSpPr/>
          <p:nvPr/>
        </p:nvSpPr>
        <p:spPr>
          <a:xfrm flipH="1">
            <a:off x="11252019" y="5989229"/>
            <a:ext cx="939981" cy="868771"/>
          </a:xfrm>
          <a:prstGeom prst="corner">
            <a:avLst>
              <a:gd name="adj1" fmla="val 17397"/>
              <a:gd name="adj2" fmla="val 16614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13" name="深度视觉·原创设计 https://www.docer.com/works?userid=22383862"/>
          <p:cNvSpPr/>
          <p:nvPr/>
        </p:nvSpPr>
        <p:spPr>
          <a:xfrm rot="10800000" flipH="1">
            <a:off x="0" y="0"/>
            <a:ext cx="939981" cy="868771"/>
          </a:xfrm>
          <a:prstGeom prst="corner">
            <a:avLst>
              <a:gd name="adj1" fmla="val 17397"/>
              <a:gd name="adj2" fmla="val 16614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2" name="深度视觉·原创设计 https://www.docer.com/works?userid=22383862"/>
          <p:cNvSpPr/>
          <p:nvPr/>
        </p:nvSpPr>
        <p:spPr>
          <a:xfrm>
            <a:off x="1233055" y="0"/>
            <a:ext cx="10958944" cy="22998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4" name="深度视觉·原创设计 https://www.docer.com/works?userid=22383862"/>
          <p:cNvSpPr/>
          <p:nvPr userDrawn="1"/>
        </p:nvSpPr>
        <p:spPr>
          <a:xfrm>
            <a:off x="5860474" y="-1"/>
            <a:ext cx="2812880" cy="5834041"/>
          </a:xfrm>
          <a:custGeom>
            <a:avLst/>
            <a:gdLst/>
            <a:ahLst/>
            <a:cxnLst/>
            <a:rect l="l" t="t" r="r" b="b"/>
            <a:pathLst>
              <a:path w="5786845" h="4284617" extrusionOk="0">
                <a:moveTo>
                  <a:pt x="0" y="0"/>
                </a:moveTo>
                <a:lnTo>
                  <a:pt x="5786845" y="0"/>
                </a:lnTo>
                <a:lnTo>
                  <a:pt x="5786845" y="4284617"/>
                </a:lnTo>
                <a:lnTo>
                  <a:pt x="0" y="4284617"/>
                </a:lnTo>
                <a:close/>
              </a:path>
            </a:pathLst>
          </a:custGeom>
          <a:blipFill>
            <a:blip r:embed="rId1"/>
            <a:stretch>
              <a:fillRect l="-105475" r="-105475"/>
            </a:stretch>
          </a:blipFill>
          <a:ln w="12700" cap="flat" cmpd="sng">
            <a:noFill/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汉仪正圆-55W" panose="00020600040101010101" pitchFamily="18" charset="-122"/>
              <a:ea typeface="汉仪正圆-55W" panose="00020600040101010101" pitchFamily="18" charset="-122"/>
              <a:cs typeface="Calibri" panose="020F0502020204030204"/>
              <a:sym typeface="汉仪正圆-55W" panose="00020600040101010101" pitchFamily="18" charset="-122"/>
            </a:endParaRPr>
          </a:p>
        </p:txBody>
      </p:sp>
      <p:sp>
        <p:nvSpPr>
          <p:cNvPr id="5" name="深度视觉·原创设计 https://www.docer.com/works?userid=22383862"/>
          <p:cNvSpPr/>
          <p:nvPr userDrawn="1"/>
        </p:nvSpPr>
        <p:spPr>
          <a:xfrm>
            <a:off x="8859574" y="3739226"/>
            <a:ext cx="2812880" cy="2094814"/>
          </a:xfrm>
          <a:custGeom>
            <a:avLst/>
            <a:gdLst/>
            <a:ahLst/>
            <a:cxnLst/>
            <a:rect l="l" t="t" r="r" b="b"/>
            <a:pathLst>
              <a:path w="5786845" h="4284617" extrusionOk="0">
                <a:moveTo>
                  <a:pt x="0" y="0"/>
                </a:moveTo>
                <a:lnTo>
                  <a:pt x="5786845" y="0"/>
                </a:lnTo>
                <a:lnTo>
                  <a:pt x="5786845" y="4284617"/>
                </a:lnTo>
                <a:lnTo>
                  <a:pt x="0" y="4284617"/>
                </a:lnTo>
                <a:close/>
              </a:path>
            </a:pathLst>
          </a:custGeom>
          <a:blipFill>
            <a:blip r:embed="rId2"/>
            <a:stretch>
              <a:fillRect t="-69374" b="-69374"/>
            </a:stretch>
          </a:blipFill>
          <a:ln w="12700" cap="flat" cmpd="sng">
            <a:noFill/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汉仪正圆-55W" panose="00020600040101010101" pitchFamily="18" charset="-122"/>
              <a:ea typeface="汉仪正圆-55W" panose="00020600040101010101" pitchFamily="18" charset="-122"/>
              <a:cs typeface="Calibri" panose="020F0502020204030204"/>
              <a:sym typeface="汉仪正圆-55W" panose="00020600040101010101" pitchFamily="18" charset="-122"/>
            </a:endParaRPr>
          </a:p>
        </p:txBody>
      </p:sp>
      <p:sp>
        <p:nvSpPr>
          <p:cNvPr id="6" name="深度视觉·原创设计 https://www.docer.com/works?userid=22383862"/>
          <p:cNvSpPr/>
          <p:nvPr userDrawn="1"/>
        </p:nvSpPr>
        <p:spPr>
          <a:xfrm>
            <a:off x="8859574" y="1489299"/>
            <a:ext cx="2812880" cy="2094814"/>
          </a:xfrm>
          <a:custGeom>
            <a:avLst/>
            <a:gdLst/>
            <a:ahLst/>
            <a:cxnLst/>
            <a:rect l="l" t="t" r="r" b="b"/>
            <a:pathLst>
              <a:path w="5786845" h="4284617" extrusionOk="0">
                <a:moveTo>
                  <a:pt x="0" y="0"/>
                </a:moveTo>
                <a:lnTo>
                  <a:pt x="5786845" y="0"/>
                </a:lnTo>
                <a:lnTo>
                  <a:pt x="5786845" y="4284617"/>
                </a:lnTo>
                <a:lnTo>
                  <a:pt x="0" y="4284617"/>
                </a:lnTo>
                <a:close/>
              </a:path>
            </a:pathLst>
          </a:custGeom>
          <a:blipFill>
            <a:blip r:embed="rId3"/>
            <a:stretch>
              <a:fillRect l="-5827" r="-5827"/>
            </a:stretch>
          </a:blipFill>
          <a:ln w="12700" cap="flat" cmpd="sng">
            <a:noFill/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汉仪正圆-55W" panose="00020600040101010101" pitchFamily="18" charset="-122"/>
              <a:ea typeface="汉仪正圆-55W" panose="00020600040101010101" pitchFamily="18" charset="-122"/>
              <a:cs typeface="Calibri" panose="020F0502020204030204"/>
              <a:sym typeface="汉仪正圆-55W" panose="00020600040101010101" pitchFamily="18" charset="-122"/>
            </a:endParaRPr>
          </a:p>
        </p:txBody>
      </p:sp>
      <p:sp>
        <p:nvSpPr>
          <p:cNvPr id="7" name="深度视觉·原创设计 https://www.docer.com/works?userid=22383862"/>
          <p:cNvSpPr/>
          <p:nvPr/>
        </p:nvSpPr>
        <p:spPr>
          <a:xfrm>
            <a:off x="1338705" y="5262764"/>
            <a:ext cx="401781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8" name="深度视觉·原创设计 https://www.docer.com/works?userid=22383862"/>
          <p:cNvSpPr txBox="1"/>
          <p:nvPr/>
        </p:nvSpPr>
        <p:spPr>
          <a:xfrm>
            <a:off x="1233055" y="3887999"/>
            <a:ext cx="2646878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zh-CN" altLang="en-US" sz="3200" dirty="0">
                <a:solidFill>
                  <a:schemeClr val="accent1"/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在这</a:t>
            </a:r>
            <a:r>
              <a:rPr lang="zh-CN" altLang="en-US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添加</a:t>
            </a:r>
            <a:endParaRPr lang="en-US" altLang="zh-CN" sz="3200" dirty="0">
              <a:solidFill>
                <a:schemeClr val="tx1">
                  <a:lumMod val="75000"/>
                  <a:lumOff val="25000"/>
                </a:schemeClr>
              </a:solidFill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  <a:p>
            <a:pPr algn="l"/>
            <a:r>
              <a:rPr lang="zh-CN" altLang="en-US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页面标题内容</a:t>
            </a:r>
            <a:endParaRPr lang="zh-CN" altLang="en-US" sz="3200" dirty="0">
              <a:solidFill>
                <a:schemeClr val="tx1">
                  <a:lumMod val="75000"/>
                  <a:lumOff val="25000"/>
                </a:schemeClr>
              </a:solidFill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9" name="深度视觉·原创设计 https://www.docer.com/works?userid=22383862"/>
          <p:cNvSpPr txBox="1"/>
          <p:nvPr/>
        </p:nvSpPr>
        <p:spPr>
          <a:xfrm>
            <a:off x="1233055" y="3429000"/>
            <a:ext cx="3183654" cy="3102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b="0" i="0" u="none" strike="noStrike" cap="none">
                <a:solidFill>
                  <a:schemeClr val="bg1">
                    <a:lumMod val="50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cs typeface="Lato"/>
                <a:sym typeface="汉仪正圆-55W" panose="00020600040101010101" pitchFamily="18" charset="-122"/>
              </a:rPr>
              <a:t>YOUR TITLE HERE</a:t>
            </a:r>
            <a:endParaRPr sz="2400" b="0" i="0" u="none" strike="noStrike" cap="none">
              <a:solidFill>
                <a:schemeClr val="bg1">
                  <a:lumMod val="50000"/>
                </a:schemeClr>
              </a:solidFill>
              <a:latin typeface="汉仪正圆-55W" panose="00020600040101010101" pitchFamily="18" charset="-122"/>
              <a:ea typeface="汉仪正圆-55W" panose="00020600040101010101" pitchFamily="18" charset="-122"/>
              <a:cs typeface="Lato"/>
              <a:sym typeface="汉仪正圆-55W" panose="00020600040101010101" pitchFamily="18" charset="-122"/>
            </a:endParaRPr>
          </a:p>
        </p:txBody>
      </p:sp>
      <p:sp>
        <p:nvSpPr>
          <p:cNvPr id="10" name="深度视觉·原创设计 https://www.docer.com/works?userid=22383862"/>
          <p:cNvSpPr txBox="1"/>
          <p:nvPr/>
        </p:nvSpPr>
        <p:spPr>
          <a:xfrm>
            <a:off x="1966944" y="609947"/>
            <a:ext cx="3159641" cy="1107979"/>
          </a:xfrm>
          <a:prstGeom prst="rect">
            <a:avLst/>
          </a:prstGeom>
          <a:noFill/>
        </p:spPr>
        <p:txBody>
          <a:bodyPr wrap="square" lIns="91423" tIns="45712" rIns="91423" bIns="45712" rtlCol="0">
            <a:spAutoFit/>
          </a:bodyPr>
          <a:lstStyle/>
          <a:p>
            <a:pPr marL="0" marR="0" lvl="0" indent="0" algn="l" defTabSz="1217930" rtl="0" eaLnBrk="1" fontAlgn="auto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400" dirty="0">
                <a:solidFill>
                  <a:schemeClr val="bg1"/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请在此处添加具体内容，文字尽量言简意赅，简单说明即可，不必过于繁琐，注意板面美观度。请在此处添加具体内容，文字尽量言简意赅</a:t>
            </a:r>
            <a:endParaRPr kumimoji="0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11" name="深度视觉·原创设计 https://www.docer.com/works?userid=22383862"/>
          <p:cNvSpPr/>
          <p:nvPr/>
        </p:nvSpPr>
        <p:spPr>
          <a:xfrm>
            <a:off x="313741" y="6244729"/>
            <a:ext cx="360219" cy="36021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深度视觉·原创设计 https://www.docer.com/works?userid=22383862"/>
          <p:cNvSpPr/>
          <p:nvPr/>
        </p:nvSpPr>
        <p:spPr>
          <a:xfrm flipH="1">
            <a:off x="11252019" y="5989229"/>
            <a:ext cx="939981" cy="868771"/>
          </a:xfrm>
          <a:prstGeom prst="corner">
            <a:avLst>
              <a:gd name="adj1" fmla="val 17397"/>
              <a:gd name="adj2" fmla="val 16614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51" name="深度视觉·原创设计 https://www.docer.com/works?userid=22383862"/>
          <p:cNvSpPr/>
          <p:nvPr/>
        </p:nvSpPr>
        <p:spPr>
          <a:xfrm rot="10800000" flipH="1">
            <a:off x="0" y="0"/>
            <a:ext cx="939981" cy="868771"/>
          </a:xfrm>
          <a:prstGeom prst="corner">
            <a:avLst>
              <a:gd name="adj1" fmla="val 17397"/>
              <a:gd name="adj2" fmla="val 16614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2" name="深度视觉·原创设计 https://www.docer.com/works?userid=22383862"/>
          <p:cNvSpPr/>
          <p:nvPr/>
        </p:nvSpPr>
        <p:spPr>
          <a:xfrm rot="5400000">
            <a:off x="7644306" y="2348782"/>
            <a:ext cx="6896471" cy="2198913"/>
          </a:xfrm>
          <a:prstGeom prst="rect">
            <a:avLst/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path path="circle">
              <a:fillToRect l="100000" b="100000"/>
            </a:path>
            <a:tileRect t="-100000" r="-100000"/>
          </a:gra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grpSp>
        <p:nvGrpSpPr>
          <p:cNvPr id="5" name="深度视觉·原创设计 https://www.docer.com/works?userid=22383862"/>
          <p:cNvGrpSpPr/>
          <p:nvPr/>
        </p:nvGrpSpPr>
        <p:grpSpPr>
          <a:xfrm>
            <a:off x="782509" y="3329176"/>
            <a:ext cx="4061983" cy="397790"/>
            <a:chOff x="692140" y="5523976"/>
            <a:chExt cx="3238696" cy="411570"/>
          </a:xfrm>
        </p:grpSpPr>
        <p:grpSp>
          <p:nvGrpSpPr>
            <p:cNvPr id="6" name="Group 7"/>
            <p:cNvGrpSpPr/>
            <p:nvPr/>
          </p:nvGrpSpPr>
          <p:grpSpPr>
            <a:xfrm>
              <a:off x="692140" y="5523976"/>
              <a:ext cx="3238696" cy="411570"/>
              <a:chOff x="2002906" y="5277679"/>
              <a:chExt cx="3238696" cy="411570"/>
            </a:xfrm>
          </p:grpSpPr>
          <p:sp>
            <p:nvSpPr>
              <p:cNvPr id="8" name="深度视觉·原创设计 https://www.docer.com/works?userid=22383862"/>
              <p:cNvSpPr/>
              <p:nvPr/>
            </p:nvSpPr>
            <p:spPr>
              <a:xfrm>
                <a:off x="2077313" y="5576407"/>
                <a:ext cx="3164289" cy="112842"/>
              </a:xfrm>
              <a:prstGeom prst="roundRect">
                <a:avLst>
                  <a:gd name="adj" fmla="val 50000"/>
                </a:avLst>
              </a:prstGeom>
              <a:solidFill>
                <a:schemeClr val="bg2">
                  <a:lumMod val="90000"/>
                </a:schemeClr>
              </a:solidFill>
              <a:ln w="9525">
                <a:solidFill>
                  <a:schemeClr val="bg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1" anchor="ctr"/>
              <a:lstStyle/>
              <a:p>
                <a:pPr algn="ctr"/>
                <a:endParaRPr lang="ar-SA" sz="1100">
                  <a:solidFill>
                    <a:schemeClr val="tx2"/>
                  </a:solidFill>
                  <a:latin typeface="汉仪正圆-55W" panose="00020600040101010101" pitchFamily="18" charset="-122"/>
                  <a:ea typeface="汉仪正圆-55W" panose="00020600040101010101" pitchFamily="18" charset="-122"/>
                  <a:sym typeface="汉仪正圆-55W" panose="00020600040101010101" pitchFamily="18" charset="-122"/>
                </a:endParaRPr>
              </a:p>
            </p:txBody>
          </p:sp>
          <p:sp>
            <p:nvSpPr>
              <p:cNvPr id="9" name="深度视觉·原创设计 https://www.docer.com/works?userid=22383862"/>
              <p:cNvSpPr/>
              <p:nvPr/>
            </p:nvSpPr>
            <p:spPr>
              <a:xfrm>
                <a:off x="2077314" y="5576407"/>
                <a:ext cx="2171074" cy="112842"/>
              </a:xfrm>
              <a:prstGeom prst="roundRect">
                <a:avLst>
                  <a:gd name="adj" fmla="val 50000"/>
                </a:avLst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1" anchor="ctr"/>
              <a:lstStyle/>
              <a:p>
                <a:pPr algn="ctr"/>
                <a:endParaRPr lang="ar-SA" sz="1100" dirty="0">
                  <a:solidFill>
                    <a:schemeClr val="tx2"/>
                  </a:solidFill>
                  <a:latin typeface="汉仪正圆-55W" panose="00020600040101010101" pitchFamily="18" charset="-122"/>
                  <a:ea typeface="汉仪正圆-55W" panose="00020600040101010101" pitchFamily="18" charset="-122"/>
                  <a:sym typeface="汉仪正圆-55W" panose="00020600040101010101" pitchFamily="18" charset="-122"/>
                </a:endParaRPr>
              </a:p>
            </p:txBody>
          </p:sp>
          <p:sp>
            <p:nvSpPr>
              <p:cNvPr id="10" name="深度视觉·原创设计 https://www.docer.com/works?userid=22383862"/>
              <p:cNvSpPr txBox="1"/>
              <p:nvPr/>
            </p:nvSpPr>
            <p:spPr>
              <a:xfrm>
                <a:off x="2002906" y="5277679"/>
                <a:ext cx="1410434" cy="391972"/>
              </a:xfrm>
              <a:prstGeom prst="rect">
                <a:avLst/>
              </a:prstGeom>
            </p:spPr>
            <p:txBody>
              <a:bodyPr/>
              <a:lstStyle>
                <a:lvl1pPr marL="0" indent="0" algn="just" defTabSz="914400" rtl="0" eaLnBrk="1" latinLnBrk="0" hangingPunct="1">
                  <a:lnSpc>
                    <a:spcPts val="1300"/>
                  </a:lnSpc>
                  <a:spcBef>
                    <a:spcPts val="1000"/>
                  </a:spcBef>
                  <a:spcAft>
                    <a:spcPts val="1200"/>
                  </a:spcAft>
                  <a:buFont typeface="Arial" panose="020B0604020202020204" pitchFamily="34" charset="0"/>
                  <a:buNone/>
                  <a:defRPr sz="1200" kern="1200">
                    <a:solidFill>
                      <a:schemeClr val="tx1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defRPr>
                </a:lvl1pPr>
                <a:lvl2pPr marL="457200" indent="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None/>
                  <a:defRPr sz="1200" kern="1200">
                    <a:solidFill>
                      <a:schemeClr val="tx1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defRPr>
                </a:lvl2pPr>
                <a:lvl3pPr marL="914400" indent="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None/>
                  <a:defRPr sz="1200" kern="1200">
                    <a:solidFill>
                      <a:schemeClr val="tx1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defRPr>
                </a:lvl3pPr>
                <a:lvl4pPr marL="1371600" indent="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None/>
                  <a:defRPr sz="1200" kern="1200">
                    <a:solidFill>
                      <a:schemeClr val="tx1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defRPr>
                </a:lvl4pPr>
                <a:lvl5pPr marL="1828800" indent="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None/>
                  <a:defRPr sz="1200" kern="1200">
                    <a:solidFill>
                      <a:schemeClr val="tx1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sz="1100" dirty="0">
                    <a:solidFill>
                      <a:schemeClr val="tx2"/>
                    </a:solidFill>
                    <a:latin typeface="汉仪正圆-55W" panose="00020600040101010101" pitchFamily="18" charset="-122"/>
                    <a:ea typeface="汉仪正圆-55W" panose="00020600040101010101" pitchFamily="18" charset="-122"/>
                    <a:cs typeface="Lato Semibold" panose="020F0502020204030203" pitchFamily="34" charset="0"/>
                    <a:sym typeface="汉仪正圆-55W" panose="00020600040101010101" pitchFamily="18" charset="-122"/>
                  </a:rPr>
                  <a:t>Skill </a:t>
                </a:r>
                <a:endParaRPr lang="en-US" sz="1100" dirty="0">
                  <a:solidFill>
                    <a:schemeClr val="tx2"/>
                  </a:solidFill>
                  <a:latin typeface="汉仪正圆-55W" panose="00020600040101010101" pitchFamily="18" charset="-122"/>
                  <a:ea typeface="汉仪正圆-55W" panose="00020600040101010101" pitchFamily="18" charset="-122"/>
                  <a:cs typeface="Lato Semibold" panose="020F0502020204030203" pitchFamily="34" charset="0"/>
                  <a:sym typeface="汉仪正圆-55W" panose="00020600040101010101" pitchFamily="18" charset="-122"/>
                </a:endParaRPr>
              </a:p>
            </p:txBody>
          </p:sp>
        </p:grpSp>
        <p:sp>
          <p:nvSpPr>
            <p:cNvPr id="7" name="深度视觉·原创设计 https://www.docer.com/works?userid=22383862"/>
            <p:cNvSpPr txBox="1"/>
            <p:nvPr/>
          </p:nvSpPr>
          <p:spPr>
            <a:xfrm>
              <a:off x="2520402" y="5523976"/>
              <a:ext cx="1410434" cy="391972"/>
            </a:xfrm>
            <a:prstGeom prst="rect">
              <a:avLst/>
            </a:prstGeom>
          </p:spPr>
          <p:txBody>
            <a:bodyPr/>
            <a:lstStyle>
              <a:lvl1pPr marL="0" indent="0" algn="just" defTabSz="914400" rtl="0" eaLnBrk="1" latinLnBrk="0" hangingPunct="1">
                <a:lnSpc>
                  <a:spcPts val="1300"/>
                </a:lnSpc>
                <a:spcBef>
                  <a:spcPts val="1000"/>
                </a:spcBef>
                <a:spcAft>
                  <a:spcPts val="1200"/>
                </a:spcAft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Open Sans Light" pitchFamily="34" charset="0"/>
                  <a:ea typeface="Open Sans Light" pitchFamily="34" charset="0"/>
                  <a:cs typeface="Open Sans Light" pitchFamily="34" charset="0"/>
                </a:defRPr>
              </a:lvl1pPr>
              <a:lvl2pPr marL="4572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Open Sans Light" pitchFamily="34" charset="0"/>
                  <a:ea typeface="Open Sans Light" pitchFamily="34" charset="0"/>
                  <a:cs typeface="Open Sans Light" pitchFamily="34" charset="0"/>
                </a:defRPr>
              </a:lvl2pPr>
              <a:lvl3pPr marL="9144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Open Sans Light" pitchFamily="34" charset="0"/>
                  <a:ea typeface="Open Sans Light" pitchFamily="34" charset="0"/>
                  <a:cs typeface="Open Sans Light" pitchFamily="34" charset="0"/>
                </a:defRPr>
              </a:lvl3pPr>
              <a:lvl4pPr marL="13716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Open Sans Light" pitchFamily="34" charset="0"/>
                  <a:ea typeface="Open Sans Light" pitchFamily="34" charset="0"/>
                  <a:cs typeface="Open Sans Light" pitchFamily="34" charset="0"/>
                </a:defRPr>
              </a:lvl4pPr>
              <a:lvl5pPr marL="18288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Open Sans Light" pitchFamily="34" charset="0"/>
                  <a:ea typeface="Open Sans Light" pitchFamily="34" charset="0"/>
                  <a:cs typeface="Open Sans Light" pitchFamily="34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r>
                <a:rPr lang="en-US" sz="1100" dirty="0">
                  <a:solidFill>
                    <a:schemeClr val="tx2"/>
                  </a:solidFill>
                  <a:latin typeface="汉仪正圆-55W" panose="00020600040101010101" pitchFamily="18" charset="-122"/>
                  <a:ea typeface="汉仪正圆-55W" panose="00020600040101010101" pitchFamily="18" charset="-122"/>
                  <a:cs typeface="Lato Semibold" panose="020F0502020204030203" pitchFamily="34" charset="0"/>
                  <a:sym typeface="汉仪正圆-55W" panose="00020600040101010101" pitchFamily="18" charset="-122"/>
                </a:rPr>
                <a:t>62%</a:t>
              </a:r>
              <a:endParaRPr lang="en-US" sz="1100" dirty="0">
                <a:solidFill>
                  <a:schemeClr val="tx2"/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cs typeface="Lato Semibold" panose="020F0502020204030203" pitchFamily="34" charset="0"/>
                <a:sym typeface="汉仪正圆-55W" panose="00020600040101010101" pitchFamily="18" charset="-122"/>
              </a:endParaRPr>
            </a:p>
          </p:txBody>
        </p:sp>
      </p:grpSp>
      <p:grpSp>
        <p:nvGrpSpPr>
          <p:cNvPr id="11" name="深度视觉·原创设计 https://www.docer.com/works?userid=22383862"/>
          <p:cNvGrpSpPr/>
          <p:nvPr/>
        </p:nvGrpSpPr>
        <p:grpSpPr>
          <a:xfrm>
            <a:off x="783061" y="4011429"/>
            <a:ext cx="4061431" cy="397790"/>
            <a:chOff x="692140" y="5523976"/>
            <a:chExt cx="3238696" cy="411570"/>
          </a:xfrm>
        </p:grpSpPr>
        <p:grpSp>
          <p:nvGrpSpPr>
            <p:cNvPr id="12" name="Group 13"/>
            <p:cNvGrpSpPr/>
            <p:nvPr/>
          </p:nvGrpSpPr>
          <p:grpSpPr>
            <a:xfrm>
              <a:off x="692140" y="5523976"/>
              <a:ext cx="3238696" cy="411570"/>
              <a:chOff x="2002906" y="5277679"/>
              <a:chExt cx="3238696" cy="411570"/>
            </a:xfrm>
          </p:grpSpPr>
          <p:sp>
            <p:nvSpPr>
              <p:cNvPr id="14" name="深度视觉·原创设计 https://www.docer.com/works?userid=22383862"/>
              <p:cNvSpPr/>
              <p:nvPr/>
            </p:nvSpPr>
            <p:spPr>
              <a:xfrm>
                <a:off x="2077313" y="5576407"/>
                <a:ext cx="3164289" cy="112842"/>
              </a:xfrm>
              <a:prstGeom prst="roundRect">
                <a:avLst>
                  <a:gd name="adj" fmla="val 50000"/>
                </a:avLst>
              </a:prstGeom>
              <a:solidFill>
                <a:schemeClr val="bg2">
                  <a:lumMod val="90000"/>
                </a:schemeClr>
              </a:solidFill>
              <a:ln w="9525">
                <a:solidFill>
                  <a:schemeClr val="bg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1" anchor="ctr"/>
              <a:lstStyle/>
              <a:p>
                <a:pPr algn="ctr"/>
                <a:endParaRPr lang="ar-SA" sz="1100">
                  <a:solidFill>
                    <a:schemeClr val="tx2"/>
                  </a:solidFill>
                  <a:latin typeface="汉仪正圆-55W" panose="00020600040101010101" pitchFamily="18" charset="-122"/>
                  <a:ea typeface="汉仪正圆-55W" panose="00020600040101010101" pitchFamily="18" charset="-122"/>
                  <a:sym typeface="汉仪正圆-55W" panose="00020600040101010101" pitchFamily="18" charset="-122"/>
                </a:endParaRPr>
              </a:p>
            </p:txBody>
          </p:sp>
          <p:sp>
            <p:nvSpPr>
              <p:cNvPr id="15" name="深度视觉·原创设计 https://www.docer.com/works?userid=22383862"/>
              <p:cNvSpPr/>
              <p:nvPr/>
            </p:nvSpPr>
            <p:spPr>
              <a:xfrm>
                <a:off x="2077314" y="5576407"/>
                <a:ext cx="2883300" cy="112842"/>
              </a:xfrm>
              <a:prstGeom prst="roundRect">
                <a:avLst>
                  <a:gd name="adj" fmla="val 50000"/>
                </a:avLst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1" anchor="ctr"/>
              <a:lstStyle/>
              <a:p>
                <a:pPr algn="ctr"/>
                <a:endParaRPr lang="ar-SA" sz="1100" dirty="0">
                  <a:solidFill>
                    <a:schemeClr val="tx2"/>
                  </a:solidFill>
                  <a:latin typeface="汉仪正圆-55W" panose="00020600040101010101" pitchFamily="18" charset="-122"/>
                  <a:ea typeface="汉仪正圆-55W" panose="00020600040101010101" pitchFamily="18" charset="-122"/>
                  <a:sym typeface="汉仪正圆-55W" panose="00020600040101010101" pitchFamily="18" charset="-122"/>
                </a:endParaRPr>
              </a:p>
            </p:txBody>
          </p:sp>
          <p:sp>
            <p:nvSpPr>
              <p:cNvPr id="16" name="深度视觉·原创设计 https://www.docer.com/works?userid=22383862"/>
              <p:cNvSpPr txBox="1"/>
              <p:nvPr/>
            </p:nvSpPr>
            <p:spPr>
              <a:xfrm>
                <a:off x="2002906" y="5277679"/>
                <a:ext cx="1410434" cy="391972"/>
              </a:xfrm>
              <a:prstGeom prst="rect">
                <a:avLst/>
              </a:prstGeom>
            </p:spPr>
            <p:txBody>
              <a:bodyPr/>
              <a:lstStyle>
                <a:lvl1pPr marL="0" indent="0" algn="just" defTabSz="914400" rtl="0" eaLnBrk="1" latinLnBrk="0" hangingPunct="1">
                  <a:lnSpc>
                    <a:spcPts val="1300"/>
                  </a:lnSpc>
                  <a:spcBef>
                    <a:spcPts val="1000"/>
                  </a:spcBef>
                  <a:spcAft>
                    <a:spcPts val="1200"/>
                  </a:spcAft>
                  <a:buFont typeface="Arial" panose="020B0604020202020204" pitchFamily="34" charset="0"/>
                  <a:buNone/>
                  <a:defRPr sz="1200" kern="1200">
                    <a:solidFill>
                      <a:schemeClr val="tx1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defRPr>
                </a:lvl1pPr>
                <a:lvl2pPr marL="457200" indent="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None/>
                  <a:defRPr sz="1200" kern="1200">
                    <a:solidFill>
                      <a:schemeClr val="tx1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defRPr>
                </a:lvl2pPr>
                <a:lvl3pPr marL="914400" indent="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None/>
                  <a:defRPr sz="1200" kern="1200">
                    <a:solidFill>
                      <a:schemeClr val="tx1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defRPr>
                </a:lvl3pPr>
                <a:lvl4pPr marL="1371600" indent="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None/>
                  <a:defRPr sz="1200" kern="1200">
                    <a:solidFill>
                      <a:schemeClr val="tx1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defRPr>
                </a:lvl4pPr>
                <a:lvl5pPr marL="1828800" indent="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None/>
                  <a:defRPr sz="1200" kern="1200">
                    <a:solidFill>
                      <a:schemeClr val="tx1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sz="1100" dirty="0">
                    <a:solidFill>
                      <a:schemeClr val="tx2"/>
                    </a:solidFill>
                    <a:latin typeface="汉仪正圆-55W" panose="00020600040101010101" pitchFamily="18" charset="-122"/>
                    <a:ea typeface="汉仪正圆-55W" panose="00020600040101010101" pitchFamily="18" charset="-122"/>
                    <a:cs typeface="Lato Semibold" panose="020F0502020204030203" pitchFamily="34" charset="0"/>
                    <a:sym typeface="汉仪正圆-55W" panose="00020600040101010101" pitchFamily="18" charset="-122"/>
                  </a:rPr>
                  <a:t>Skill </a:t>
                </a:r>
                <a:endParaRPr lang="en-US" sz="1100" dirty="0">
                  <a:solidFill>
                    <a:schemeClr val="tx2"/>
                  </a:solidFill>
                  <a:latin typeface="汉仪正圆-55W" panose="00020600040101010101" pitchFamily="18" charset="-122"/>
                  <a:ea typeface="汉仪正圆-55W" panose="00020600040101010101" pitchFamily="18" charset="-122"/>
                  <a:cs typeface="Lato Semibold" panose="020F0502020204030203" pitchFamily="34" charset="0"/>
                  <a:sym typeface="汉仪正圆-55W" panose="00020600040101010101" pitchFamily="18" charset="-122"/>
                </a:endParaRPr>
              </a:p>
            </p:txBody>
          </p:sp>
        </p:grpSp>
        <p:sp>
          <p:nvSpPr>
            <p:cNvPr id="13" name="深度视觉·原创设计 https://www.docer.com/works?userid=22383862"/>
            <p:cNvSpPr txBox="1"/>
            <p:nvPr/>
          </p:nvSpPr>
          <p:spPr>
            <a:xfrm>
              <a:off x="2520402" y="5523976"/>
              <a:ext cx="1410434" cy="391972"/>
            </a:xfrm>
            <a:prstGeom prst="rect">
              <a:avLst/>
            </a:prstGeom>
          </p:spPr>
          <p:txBody>
            <a:bodyPr/>
            <a:lstStyle>
              <a:lvl1pPr marL="0" indent="0" algn="just" defTabSz="914400" rtl="0" eaLnBrk="1" latinLnBrk="0" hangingPunct="1">
                <a:lnSpc>
                  <a:spcPts val="1300"/>
                </a:lnSpc>
                <a:spcBef>
                  <a:spcPts val="1000"/>
                </a:spcBef>
                <a:spcAft>
                  <a:spcPts val="1200"/>
                </a:spcAft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Open Sans Light" pitchFamily="34" charset="0"/>
                  <a:ea typeface="Open Sans Light" pitchFamily="34" charset="0"/>
                  <a:cs typeface="Open Sans Light" pitchFamily="34" charset="0"/>
                </a:defRPr>
              </a:lvl1pPr>
              <a:lvl2pPr marL="4572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Open Sans Light" pitchFamily="34" charset="0"/>
                  <a:ea typeface="Open Sans Light" pitchFamily="34" charset="0"/>
                  <a:cs typeface="Open Sans Light" pitchFamily="34" charset="0"/>
                </a:defRPr>
              </a:lvl2pPr>
              <a:lvl3pPr marL="9144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Open Sans Light" pitchFamily="34" charset="0"/>
                  <a:ea typeface="Open Sans Light" pitchFamily="34" charset="0"/>
                  <a:cs typeface="Open Sans Light" pitchFamily="34" charset="0"/>
                </a:defRPr>
              </a:lvl3pPr>
              <a:lvl4pPr marL="13716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Open Sans Light" pitchFamily="34" charset="0"/>
                  <a:ea typeface="Open Sans Light" pitchFamily="34" charset="0"/>
                  <a:cs typeface="Open Sans Light" pitchFamily="34" charset="0"/>
                </a:defRPr>
              </a:lvl4pPr>
              <a:lvl5pPr marL="18288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Open Sans Light" pitchFamily="34" charset="0"/>
                  <a:ea typeface="Open Sans Light" pitchFamily="34" charset="0"/>
                  <a:cs typeface="Open Sans Light" pitchFamily="34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r>
                <a:rPr lang="en-US" sz="1100" dirty="0">
                  <a:solidFill>
                    <a:schemeClr val="tx2"/>
                  </a:solidFill>
                  <a:latin typeface="汉仪正圆-55W" panose="00020600040101010101" pitchFamily="18" charset="-122"/>
                  <a:ea typeface="汉仪正圆-55W" panose="00020600040101010101" pitchFamily="18" charset="-122"/>
                  <a:cs typeface="Lato Semibold" panose="020F0502020204030203" pitchFamily="34" charset="0"/>
                  <a:sym typeface="汉仪正圆-55W" panose="00020600040101010101" pitchFamily="18" charset="-122"/>
                </a:rPr>
                <a:t>93%</a:t>
              </a:r>
              <a:endParaRPr lang="en-US" sz="1100" dirty="0">
                <a:solidFill>
                  <a:schemeClr val="tx2"/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cs typeface="Lato Semibold" panose="020F0502020204030203" pitchFamily="34" charset="0"/>
                <a:sym typeface="汉仪正圆-55W" panose="00020600040101010101" pitchFamily="18" charset="-122"/>
              </a:endParaRPr>
            </a:p>
          </p:txBody>
        </p:sp>
      </p:grpSp>
      <p:grpSp>
        <p:nvGrpSpPr>
          <p:cNvPr id="17" name="深度视觉·原创设计 https://www.docer.com/works?userid=22383862"/>
          <p:cNvGrpSpPr/>
          <p:nvPr/>
        </p:nvGrpSpPr>
        <p:grpSpPr>
          <a:xfrm>
            <a:off x="875831" y="4963466"/>
            <a:ext cx="454039" cy="454814"/>
            <a:chOff x="7275629" y="3973834"/>
            <a:chExt cx="464344" cy="465138"/>
          </a:xfrm>
          <a:solidFill>
            <a:schemeClr val="accent1"/>
          </a:solidFill>
        </p:grpSpPr>
        <p:sp>
          <p:nvSpPr>
            <p:cNvPr id="18" name="深度视觉·原创设计 https://www.docer.com/works?userid=22383862"/>
            <p:cNvSpPr/>
            <p:nvPr/>
          </p:nvSpPr>
          <p:spPr bwMode="auto">
            <a:xfrm>
              <a:off x="7275629" y="4017490"/>
              <a:ext cx="423069" cy="421482"/>
            </a:xfrm>
            <a:custGeom>
              <a:avLst/>
              <a:gdLst>
                <a:gd name="T0" fmla="+- 0 10849 98"/>
                <a:gd name="T1" fmla="*/ T0 w 21502"/>
                <a:gd name="T2" fmla="*/ 10800 h 21600"/>
                <a:gd name="T3" fmla="+- 0 10849 98"/>
                <a:gd name="T4" fmla="*/ T3 w 21502"/>
                <a:gd name="T5" fmla="*/ 10800 h 21600"/>
                <a:gd name="T6" fmla="+- 0 10849 98"/>
                <a:gd name="T7" fmla="*/ T6 w 21502"/>
                <a:gd name="T8" fmla="*/ 10800 h 21600"/>
                <a:gd name="T9" fmla="+- 0 10849 98"/>
                <a:gd name="T10" fmla="*/ T9 w 21502"/>
                <a:gd name="T11" fmla="*/ 10800 h 21600"/>
              </a:gdLst>
              <a:ahLst/>
              <a:cxnLst>
                <a:cxn ang="0">
                  <a:pos x="T1" y="T2"/>
                </a:cxn>
                <a:cxn ang="0">
                  <a:pos x="T4" y="T5"/>
                </a:cxn>
                <a:cxn ang="0">
                  <a:pos x="T7" y="T8"/>
                </a:cxn>
                <a:cxn ang="0">
                  <a:pos x="T10" y="T11"/>
                </a:cxn>
              </a:cxnLst>
              <a:rect l="0" t="0" r="r" b="b"/>
              <a:pathLst>
                <a:path w="21502" h="21600">
                  <a:moveTo>
                    <a:pt x="19917" y="7880"/>
                  </a:moveTo>
                  <a:lnTo>
                    <a:pt x="18875" y="8932"/>
                  </a:lnTo>
                  <a:cubicBezTo>
                    <a:pt x="18730" y="9079"/>
                    <a:pt x="18497" y="9079"/>
                    <a:pt x="18353" y="8932"/>
                  </a:cubicBezTo>
                  <a:lnTo>
                    <a:pt x="17048" y="7617"/>
                  </a:lnTo>
                  <a:lnTo>
                    <a:pt x="15991" y="10290"/>
                  </a:lnTo>
                  <a:lnTo>
                    <a:pt x="16080" y="10064"/>
                  </a:lnTo>
                  <a:cubicBezTo>
                    <a:pt x="13859" y="7826"/>
                    <a:pt x="11601" y="7544"/>
                    <a:pt x="9565" y="7291"/>
                  </a:cubicBezTo>
                  <a:cubicBezTo>
                    <a:pt x="8910" y="7210"/>
                    <a:pt x="8276" y="7126"/>
                    <a:pt x="7652" y="6990"/>
                  </a:cubicBezTo>
                  <a:lnTo>
                    <a:pt x="13918" y="4456"/>
                  </a:lnTo>
                  <a:lnTo>
                    <a:pt x="12652" y="3179"/>
                  </a:lnTo>
                  <a:cubicBezTo>
                    <a:pt x="12508" y="3033"/>
                    <a:pt x="12508" y="2798"/>
                    <a:pt x="12652" y="2652"/>
                  </a:cubicBezTo>
                  <a:lnTo>
                    <a:pt x="13695" y="1598"/>
                  </a:lnTo>
                  <a:cubicBezTo>
                    <a:pt x="13840" y="1453"/>
                    <a:pt x="14073" y="1453"/>
                    <a:pt x="14217" y="1598"/>
                  </a:cubicBezTo>
                  <a:lnTo>
                    <a:pt x="19917" y="7353"/>
                  </a:lnTo>
                  <a:cubicBezTo>
                    <a:pt x="20062" y="7499"/>
                    <a:pt x="20062" y="7734"/>
                    <a:pt x="19917" y="7880"/>
                  </a:cubicBezTo>
                  <a:moveTo>
                    <a:pt x="12292" y="19639"/>
                  </a:moveTo>
                  <a:cubicBezTo>
                    <a:pt x="12200" y="19872"/>
                    <a:pt x="11999" y="20044"/>
                    <a:pt x="11756" y="20095"/>
                  </a:cubicBezTo>
                  <a:cubicBezTo>
                    <a:pt x="11700" y="20106"/>
                    <a:pt x="11643" y="20111"/>
                    <a:pt x="11587" y="20110"/>
                  </a:cubicBezTo>
                  <a:cubicBezTo>
                    <a:pt x="11400" y="20105"/>
                    <a:pt x="11219" y="20030"/>
                    <a:pt x="11084" y="19892"/>
                  </a:cubicBezTo>
                  <a:lnTo>
                    <a:pt x="1692" y="10517"/>
                  </a:lnTo>
                  <a:cubicBezTo>
                    <a:pt x="1519" y="10343"/>
                    <a:pt x="1443" y="10094"/>
                    <a:pt x="1488" y="9852"/>
                  </a:cubicBezTo>
                  <a:cubicBezTo>
                    <a:pt x="1533" y="9610"/>
                    <a:pt x="1695" y="9407"/>
                    <a:pt x="1917" y="9308"/>
                  </a:cubicBezTo>
                  <a:lnTo>
                    <a:pt x="6505" y="7453"/>
                  </a:lnTo>
                  <a:cubicBezTo>
                    <a:pt x="9597" y="8490"/>
                    <a:pt x="12689" y="7491"/>
                    <a:pt x="15781" y="10821"/>
                  </a:cubicBezTo>
                  <a:cubicBezTo>
                    <a:pt x="15781" y="10821"/>
                    <a:pt x="12292" y="19639"/>
                    <a:pt x="12292" y="19639"/>
                  </a:cubicBezTo>
                  <a:close/>
                  <a:moveTo>
                    <a:pt x="15260" y="545"/>
                  </a:moveTo>
                  <a:cubicBezTo>
                    <a:pt x="14912" y="193"/>
                    <a:pt x="14449" y="0"/>
                    <a:pt x="13956" y="0"/>
                  </a:cubicBezTo>
                  <a:cubicBezTo>
                    <a:pt x="13463" y="0"/>
                    <a:pt x="13000" y="193"/>
                    <a:pt x="12651" y="546"/>
                  </a:cubicBezTo>
                  <a:lnTo>
                    <a:pt x="11610" y="1598"/>
                  </a:lnTo>
                  <a:cubicBezTo>
                    <a:pt x="11261" y="1949"/>
                    <a:pt x="11068" y="2417"/>
                    <a:pt x="11068" y="2915"/>
                  </a:cubicBezTo>
                  <a:cubicBezTo>
                    <a:pt x="11068" y="3265"/>
                    <a:pt x="11164" y="3601"/>
                    <a:pt x="11342" y="3893"/>
                  </a:cubicBezTo>
                  <a:lnTo>
                    <a:pt x="1324" y="7944"/>
                  </a:lnTo>
                  <a:cubicBezTo>
                    <a:pt x="654" y="8241"/>
                    <a:pt x="173" y="8851"/>
                    <a:pt x="38" y="9575"/>
                  </a:cubicBezTo>
                  <a:cubicBezTo>
                    <a:pt x="-98" y="10302"/>
                    <a:pt x="130" y="11048"/>
                    <a:pt x="654" y="11576"/>
                  </a:cubicBezTo>
                  <a:lnTo>
                    <a:pt x="10041" y="20946"/>
                  </a:lnTo>
                  <a:cubicBezTo>
                    <a:pt x="10445" y="21354"/>
                    <a:pt x="10982" y="21586"/>
                    <a:pt x="11549" y="21599"/>
                  </a:cubicBezTo>
                  <a:cubicBezTo>
                    <a:pt x="11562" y="21599"/>
                    <a:pt x="11593" y="21599"/>
                    <a:pt x="11605" y="21599"/>
                  </a:cubicBezTo>
                  <a:cubicBezTo>
                    <a:pt x="11754" y="21599"/>
                    <a:pt x="11906" y="21584"/>
                    <a:pt x="12056" y="21553"/>
                  </a:cubicBezTo>
                  <a:cubicBezTo>
                    <a:pt x="12789" y="21399"/>
                    <a:pt x="13390" y="20888"/>
                    <a:pt x="13662" y="20191"/>
                  </a:cubicBezTo>
                  <a:lnTo>
                    <a:pt x="17604" y="10229"/>
                  </a:lnTo>
                  <a:cubicBezTo>
                    <a:pt x="17902" y="10426"/>
                    <a:pt x="18250" y="10532"/>
                    <a:pt x="18613" y="10532"/>
                  </a:cubicBezTo>
                  <a:cubicBezTo>
                    <a:pt x="19107" y="10532"/>
                    <a:pt x="19570" y="10338"/>
                    <a:pt x="19918" y="9986"/>
                  </a:cubicBezTo>
                  <a:lnTo>
                    <a:pt x="20957" y="8937"/>
                  </a:lnTo>
                  <a:cubicBezTo>
                    <a:pt x="21308" y="8585"/>
                    <a:pt x="21502" y="8116"/>
                    <a:pt x="21502" y="7617"/>
                  </a:cubicBezTo>
                  <a:cubicBezTo>
                    <a:pt x="21502" y="7117"/>
                    <a:pt x="21308" y="6648"/>
                    <a:pt x="20961" y="6300"/>
                  </a:cubicBezTo>
                  <a:cubicBezTo>
                    <a:pt x="20961" y="6300"/>
                    <a:pt x="15260" y="545"/>
                    <a:pt x="15260" y="545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lIns="19045" tIns="19045" rIns="19045" bIns="19045" anchor="ctr"/>
            <a:lstStyle/>
            <a:p>
              <a:pPr algn="ctr" defTabSz="22860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50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19" name="深度视觉·原创设计 https://www.docer.com/works?userid=22383862"/>
            <p:cNvSpPr/>
            <p:nvPr/>
          </p:nvSpPr>
          <p:spPr bwMode="auto">
            <a:xfrm>
              <a:off x="7478829" y="4206403"/>
              <a:ext cx="72231" cy="73025"/>
            </a:xfrm>
            <a:custGeom>
              <a:avLst/>
              <a:gdLst>
                <a:gd name="T0" fmla="*/ 10800 w 21600"/>
                <a:gd name="T1" fmla="*/ 10800 h 21600"/>
                <a:gd name="T2" fmla="*/ 10800 w 21600"/>
                <a:gd name="T3" fmla="*/ 10800 h 21600"/>
                <a:gd name="T4" fmla="*/ 10800 w 21600"/>
                <a:gd name="T5" fmla="*/ 10800 h 21600"/>
                <a:gd name="T6" fmla="*/ 10800 w 21600"/>
                <a:gd name="T7" fmla="*/ 108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600" h="21600">
                  <a:moveTo>
                    <a:pt x="10800" y="4320"/>
                  </a:moveTo>
                  <a:cubicBezTo>
                    <a:pt x="14381" y="4320"/>
                    <a:pt x="17279" y="7222"/>
                    <a:pt x="17279" y="10800"/>
                  </a:cubicBezTo>
                  <a:cubicBezTo>
                    <a:pt x="17279" y="14377"/>
                    <a:pt x="14381" y="17279"/>
                    <a:pt x="10800" y="17279"/>
                  </a:cubicBezTo>
                  <a:cubicBezTo>
                    <a:pt x="7218" y="17279"/>
                    <a:pt x="4319" y="14377"/>
                    <a:pt x="4319" y="10800"/>
                  </a:cubicBezTo>
                  <a:cubicBezTo>
                    <a:pt x="4319" y="7222"/>
                    <a:pt x="7218" y="4320"/>
                    <a:pt x="10800" y="4320"/>
                  </a:cubicBezTo>
                  <a:moveTo>
                    <a:pt x="10800" y="21599"/>
                  </a:moveTo>
                  <a:cubicBezTo>
                    <a:pt x="16752" y="21599"/>
                    <a:pt x="21600" y="16756"/>
                    <a:pt x="21600" y="10800"/>
                  </a:cubicBezTo>
                  <a:cubicBezTo>
                    <a:pt x="21600" y="4843"/>
                    <a:pt x="16752" y="0"/>
                    <a:pt x="10800" y="0"/>
                  </a:cubicBezTo>
                  <a:cubicBezTo>
                    <a:pt x="4847" y="0"/>
                    <a:pt x="0" y="4843"/>
                    <a:pt x="0" y="10800"/>
                  </a:cubicBezTo>
                  <a:cubicBezTo>
                    <a:pt x="0" y="16756"/>
                    <a:pt x="4847" y="21599"/>
                    <a:pt x="10800" y="21599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lIns="19045" tIns="19045" rIns="19045" bIns="19045" anchor="ctr"/>
            <a:lstStyle/>
            <a:p>
              <a:pPr algn="ctr" defTabSz="22860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50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20" name="深度视觉·原创设计 https://www.docer.com/works?userid=22383862"/>
            <p:cNvSpPr/>
            <p:nvPr/>
          </p:nvSpPr>
          <p:spPr bwMode="auto">
            <a:xfrm>
              <a:off x="7667742" y="3973834"/>
              <a:ext cx="72231" cy="73025"/>
            </a:xfrm>
            <a:custGeom>
              <a:avLst/>
              <a:gdLst>
                <a:gd name="T0" fmla="*/ 10800 w 21600"/>
                <a:gd name="T1" fmla="*/ 10800 h 21600"/>
                <a:gd name="T2" fmla="*/ 10800 w 21600"/>
                <a:gd name="T3" fmla="*/ 10800 h 21600"/>
                <a:gd name="T4" fmla="*/ 10800 w 21600"/>
                <a:gd name="T5" fmla="*/ 10800 h 21600"/>
                <a:gd name="T6" fmla="*/ 10800 w 21600"/>
                <a:gd name="T7" fmla="*/ 108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600" h="21600">
                  <a:moveTo>
                    <a:pt x="10800" y="17279"/>
                  </a:moveTo>
                  <a:cubicBezTo>
                    <a:pt x="7218" y="17279"/>
                    <a:pt x="4320" y="14377"/>
                    <a:pt x="4320" y="10800"/>
                  </a:cubicBezTo>
                  <a:cubicBezTo>
                    <a:pt x="4320" y="7222"/>
                    <a:pt x="7218" y="4320"/>
                    <a:pt x="10800" y="4320"/>
                  </a:cubicBezTo>
                  <a:cubicBezTo>
                    <a:pt x="14381" y="4320"/>
                    <a:pt x="17280" y="7222"/>
                    <a:pt x="17280" y="10800"/>
                  </a:cubicBezTo>
                  <a:cubicBezTo>
                    <a:pt x="17280" y="14377"/>
                    <a:pt x="14381" y="17279"/>
                    <a:pt x="10800" y="17279"/>
                  </a:cubicBezTo>
                  <a:moveTo>
                    <a:pt x="10800" y="0"/>
                  </a:moveTo>
                  <a:cubicBezTo>
                    <a:pt x="4847" y="0"/>
                    <a:pt x="0" y="4843"/>
                    <a:pt x="0" y="10800"/>
                  </a:cubicBezTo>
                  <a:cubicBezTo>
                    <a:pt x="0" y="16756"/>
                    <a:pt x="4847" y="21599"/>
                    <a:pt x="10800" y="21599"/>
                  </a:cubicBezTo>
                  <a:cubicBezTo>
                    <a:pt x="16752" y="21599"/>
                    <a:pt x="21600" y="16756"/>
                    <a:pt x="21600" y="10800"/>
                  </a:cubicBezTo>
                  <a:cubicBezTo>
                    <a:pt x="21600" y="4843"/>
                    <a:pt x="16752" y="0"/>
                    <a:pt x="10800" y="0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lIns="19045" tIns="19045" rIns="19045" bIns="19045" anchor="ctr"/>
            <a:lstStyle/>
            <a:p>
              <a:pPr algn="ctr" defTabSz="22860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50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21" name="深度视觉·原创设计 https://www.docer.com/works?userid=22383862"/>
            <p:cNvSpPr/>
            <p:nvPr/>
          </p:nvSpPr>
          <p:spPr bwMode="auto">
            <a:xfrm>
              <a:off x="7391517" y="4192115"/>
              <a:ext cx="57944" cy="57944"/>
            </a:xfrm>
            <a:custGeom>
              <a:avLst/>
              <a:gdLst>
                <a:gd name="T0" fmla="*/ 10800 w 21600"/>
                <a:gd name="T1" fmla="*/ 10800 h 21600"/>
                <a:gd name="T2" fmla="*/ 10800 w 21600"/>
                <a:gd name="T3" fmla="*/ 10800 h 21600"/>
                <a:gd name="T4" fmla="*/ 10800 w 21600"/>
                <a:gd name="T5" fmla="*/ 10800 h 21600"/>
                <a:gd name="T6" fmla="*/ 10800 w 21600"/>
                <a:gd name="T7" fmla="*/ 108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600" h="21600">
                  <a:moveTo>
                    <a:pt x="10800" y="5400"/>
                  </a:moveTo>
                  <a:cubicBezTo>
                    <a:pt x="13779" y="5400"/>
                    <a:pt x="16199" y="7815"/>
                    <a:pt x="16199" y="10800"/>
                  </a:cubicBezTo>
                  <a:cubicBezTo>
                    <a:pt x="16199" y="13784"/>
                    <a:pt x="13779" y="16200"/>
                    <a:pt x="10800" y="16200"/>
                  </a:cubicBezTo>
                  <a:cubicBezTo>
                    <a:pt x="7820" y="16200"/>
                    <a:pt x="5399" y="13784"/>
                    <a:pt x="5399" y="10800"/>
                  </a:cubicBezTo>
                  <a:cubicBezTo>
                    <a:pt x="5399" y="7815"/>
                    <a:pt x="7820" y="5400"/>
                    <a:pt x="10800" y="5400"/>
                  </a:cubicBezTo>
                  <a:moveTo>
                    <a:pt x="0" y="10800"/>
                  </a:moveTo>
                  <a:cubicBezTo>
                    <a:pt x="0" y="16753"/>
                    <a:pt x="4843" y="21599"/>
                    <a:pt x="10800" y="21599"/>
                  </a:cubicBezTo>
                  <a:cubicBezTo>
                    <a:pt x="16756" y="21599"/>
                    <a:pt x="21600" y="16753"/>
                    <a:pt x="21600" y="10800"/>
                  </a:cubicBezTo>
                  <a:cubicBezTo>
                    <a:pt x="21600" y="4846"/>
                    <a:pt x="16756" y="0"/>
                    <a:pt x="10800" y="0"/>
                  </a:cubicBezTo>
                  <a:cubicBezTo>
                    <a:pt x="4843" y="0"/>
                    <a:pt x="0" y="4846"/>
                    <a:pt x="0" y="10800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lIns="19045" tIns="19045" rIns="19045" bIns="19045" anchor="ctr"/>
            <a:lstStyle/>
            <a:p>
              <a:pPr algn="ctr" defTabSz="22860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50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22" name="深度视觉·原创设计 https://www.docer.com/works?userid=22383862"/>
            <p:cNvSpPr/>
            <p:nvPr/>
          </p:nvSpPr>
          <p:spPr bwMode="auto">
            <a:xfrm>
              <a:off x="7449460" y="4293715"/>
              <a:ext cx="29369" cy="28575"/>
            </a:xfrm>
            <a:custGeom>
              <a:avLst/>
              <a:gdLst>
                <a:gd name="T0" fmla="*/ 10800 w 21600"/>
                <a:gd name="T1" fmla="*/ 10800 h 21600"/>
                <a:gd name="T2" fmla="*/ 10800 w 21600"/>
                <a:gd name="T3" fmla="*/ 10800 h 21600"/>
                <a:gd name="T4" fmla="*/ 10800 w 21600"/>
                <a:gd name="T5" fmla="*/ 10800 h 21600"/>
                <a:gd name="T6" fmla="*/ 10800 w 21600"/>
                <a:gd name="T7" fmla="*/ 108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600" h="21600">
                  <a:moveTo>
                    <a:pt x="10800" y="21599"/>
                  </a:moveTo>
                  <a:cubicBezTo>
                    <a:pt x="16758" y="21599"/>
                    <a:pt x="21600" y="16769"/>
                    <a:pt x="21600" y="10800"/>
                  </a:cubicBezTo>
                  <a:cubicBezTo>
                    <a:pt x="21600" y="4830"/>
                    <a:pt x="16758" y="0"/>
                    <a:pt x="10800" y="0"/>
                  </a:cubicBezTo>
                  <a:cubicBezTo>
                    <a:pt x="4841" y="0"/>
                    <a:pt x="0" y="4830"/>
                    <a:pt x="0" y="10800"/>
                  </a:cubicBezTo>
                  <a:cubicBezTo>
                    <a:pt x="0" y="16769"/>
                    <a:pt x="4841" y="21599"/>
                    <a:pt x="10800" y="21599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lIns="19045" tIns="19045" rIns="19045" bIns="19045" anchor="ctr"/>
            <a:lstStyle/>
            <a:p>
              <a:pPr algn="ctr" defTabSz="22860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50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23" name="深度视觉·原创设计 https://www.docer.com/works?userid=22383862"/>
            <p:cNvSpPr/>
            <p:nvPr/>
          </p:nvSpPr>
          <p:spPr bwMode="auto">
            <a:xfrm>
              <a:off x="7682029" y="4075434"/>
              <a:ext cx="28575" cy="29369"/>
            </a:xfrm>
            <a:custGeom>
              <a:avLst/>
              <a:gdLst>
                <a:gd name="T0" fmla="*/ 10800 w 21600"/>
                <a:gd name="T1" fmla="*/ 10800 h 21600"/>
                <a:gd name="T2" fmla="*/ 10800 w 21600"/>
                <a:gd name="T3" fmla="*/ 10800 h 21600"/>
                <a:gd name="T4" fmla="*/ 10800 w 21600"/>
                <a:gd name="T5" fmla="*/ 10800 h 21600"/>
                <a:gd name="T6" fmla="*/ 10800 w 21600"/>
                <a:gd name="T7" fmla="*/ 108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600" h="21600">
                  <a:moveTo>
                    <a:pt x="10800" y="0"/>
                  </a:moveTo>
                  <a:cubicBezTo>
                    <a:pt x="4841" y="0"/>
                    <a:pt x="0" y="4830"/>
                    <a:pt x="0" y="10800"/>
                  </a:cubicBezTo>
                  <a:cubicBezTo>
                    <a:pt x="0" y="16769"/>
                    <a:pt x="4841" y="21599"/>
                    <a:pt x="10800" y="21599"/>
                  </a:cubicBezTo>
                  <a:cubicBezTo>
                    <a:pt x="16758" y="21599"/>
                    <a:pt x="21600" y="16769"/>
                    <a:pt x="21600" y="10800"/>
                  </a:cubicBezTo>
                  <a:cubicBezTo>
                    <a:pt x="21600" y="4830"/>
                    <a:pt x="16758" y="0"/>
                    <a:pt x="10800" y="0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lIns="19045" tIns="19045" rIns="19045" bIns="19045" anchor="ctr"/>
            <a:lstStyle/>
            <a:p>
              <a:pPr algn="ctr" defTabSz="22860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50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</p:grpSp>
      <p:grpSp>
        <p:nvGrpSpPr>
          <p:cNvPr id="28" name="深度视觉·原创设计 https://www.docer.com/works?userid=22383862"/>
          <p:cNvGrpSpPr/>
          <p:nvPr/>
        </p:nvGrpSpPr>
        <p:grpSpPr>
          <a:xfrm>
            <a:off x="3499248" y="4914735"/>
            <a:ext cx="448194" cy="447430"/>
            <a:chOff x="6357938" y="1647825"/>
            <a:chExt cx="465138" cy="464344"/>
          </a:xfrm>
          <a:solidFill>
            <a:schemeClr val="accent1"/>
          </a:solidFill>
        </p:grpSpPr>
        <p:sp>
          <p:nvSpPr>
            <p:cNvPr id="29" name="深度视觉·原创设计 https://www.docer.com/works?userid=22383862"/>
            <p:cNvSpPr/>
            <p:nvPr/>
          </p:nvSpPr>
          <p:spPr bwMode="auto">
            <a:xfrm>
              <a:off x="6357938" y="1647825"/>
              <a:ext cx="465138" cy="464344"/>
            </a:xfrm>
            <a:custGeom>
              <a:avLst/>
              <a:gdLst>
                <a:gd name="T0" fmla="*/ 10800 w 21600"/>
                <a:gd name="T1" fmla="*/ 10800 h 21600"/>
                <a:gd name="T2" fmla="*/ 10800 w 21600"/>
                <a:gd name="T3" fmla="*/ 10800 h 21600"/>
                <a:gd name="T4" fmla="*/ 10800 w 21600"/>
                <a:gd name="T5" fmla="*/ 10800 h 21600"/>
                <a:gd name="T6" fmla="*/ 10800 w 21600"/>
                <a:gd name="T7" fmla="*/ 108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600" h="21600">
                  <a:moveTo>
                    <a:pt x="20249" y="18900"/>
                  </a:moveTo>
                  <a:cubicBezTo>
                    <a:pt x="20249" y="19643"/>
                    <a:pt x="19644" y="20249"/>
                    <a:pt x="18899" y="20249"/>
                  </a:cubicBezTo>
                  <a:lnTo>
                    <a:pt x="2699" y="20249"/>
                  </a:lnTo>
                  <a:cubicBezTo>
                    <a:pt x="1955" y="20249"/>
                    <a:pt x="1349" y="19643"/>
                    <a:pt x="1349" y="18900"/>
                  </a:cubicBezTo>
                  <a:lnTo>
                    <a:pt x="1349" y="5400"/>
                  </a:lnTo>
                  <a:cubicBezTo>
                    <a:pt x="1349" y="5027"/>
                    <a:pt x="1652" y="4725"/>
                    <a:pt x="2024" y="4725"/>
                  </a:cubicBezTo>
                  <a:lnTo>
                    <a:pt x="2699" y="4725"/>
                  </a:lnTo>
                  <a:lnTo>
                    <a:pt x="2699" y="18225"/>
                  </a:lnTo>
                  <a:cubicBezTo>
                    <a:pt x="2699" y="18598"/>
                    <a:pt x="3001" y="18900"/>
                    <a:pt x="3374" y="18900"/>
                  </a:cubicBezTo>
                  <a:cubicBezTo>
                    <a:pt x="3748" y="18900"/>
                    <a:pt x="4049" y="18598"/>
                    <a:pt x="4049" y="18225"/>
                  </a:cubicBezTo>
                  <a:lnTo>
                    <a:pt x="4049" y="2025"/>
                  </a:lnTo>
                  <a:cubicBezTo>
                    <a:pt x="4049" y="1652"/>
                    <a:pt x="4352" y="1350"/>
                    <a:pt x="4724" y="1350"/>
                  </a:cubicBezTo>
                  <a:lnTo>
                    <a:pt x="19575" y="1350"/>
                  </a:lnTo>
                  <a:cubicBezTo>
                    <a:pt x="19947" y="1350"/>
                    <a:pt x="20249" y="1652"/>
                    <a:pt x="20249" y="2025"/>
                  </a:cubicBezTo>
                  <a:cubicBezTo>
                    <a:pt x="20249" y="2025"/>
                    <a:pt x="20249" y="18900"/>
                    <a:pt x="20249" y="18900"/>
                  </a:cubicBezTo>
                  <a:close/>
                  <a:moveTo>
                    <a:pt x="19575" y="0"/>
                  </a:moveTo>
                  <a:lnTo>
                    <a:pt x="4724" y="0"/>
                  </a:lnTo>
                  <a:cubicBezTo>
                    <a:pt x="3606" y="0"/>
                    <a:pt x="2699" y="905"/>
                    <a:pt x="2699" y="2025"/>
                  </a:cubicBezTo>
                  <a:lnTo>
                    <a:pt x="2699" y="3375"/>
                  </a:lnTo>
                  <a:lnTo>
                    <a:pt x="2024" y="3375"/>
                  </a:lnTo>
                  <a:cubicBezTo>
                    <a:pt x="906" y="3375"/>
                    <a:pt x="0" y="4280"/>
                    <a:pt x="0" y="5400"/>
                  </a:cubicBezTo>
                  <a:lnTo>
                    <a:pt x="0" y="18900"/>
                  </a:lnTo>
                  <a:cubicBezTo>
                    <a:pt x="0" y="20391"/>
                    <a:pt x="1208" y="21599"/>
                    <a:pt x="2699" y="21599"/>
                  </a:cubicBezTo>
                  <a:lnTo>
                    <a:pt x="18899" y="21599"/>
                  </a:lnTo>
                  <a:cubicBezTo>
                    <a:pt x="20391" y="21599"/>
                    <a:pt x="21600" y="20391"/>
                    <a:pt x="21600" y="18900"/>
                  </a:cubicBezTo>
                  <a:lnTo>
                    <a:pt x="21600" y="2025"/>
                  </a:lnTo>
                  <a:cubicBezTo>
                    <a:pt x="21600" y="905"/>
                    <a:pt x="20693" y="0"/>
                    <a:pt x="19575" y="0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lIns="19045" tIns="19045" rIns="19045" bIns="19045" anchor="ctr"/>
            <a:lstStyle/>
            <a:p>
              <a:pPr algn="ctr" defTabSz="22860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50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30" name="深度视觉·原创设计 https://www.docer.com/works?userid=22383862"/>
            <p:cNvSpPr/>
            <p:nvPr/>
          </p:nvSpPr>
          <p:spPr bwMode="auto">
            <a:xfrm>
              <a:off x="6634163" y="1821657"/>
              <a:ext cx="130175" cy="15081"/>
            </a:xfrm>
            <a:custGeom>
              <a:avLst/>
              <a:gdLst>
                <a:gd name="T0" fmla="*/ 10800 w 21600"/>
                <a:gd name="T1" fmla="*/ 10800 h 21600"/>
                <a:gd name="T2" fmla="*/ 10800 w 21600"/>
                <a:gd name="T3" fmla="*/ 10800 h 21600"/>
                <a:gd name="T4" fmla="*/ 10800 w 21600"/>
                <a:gd name="T5" fmla="*/ 10800 h 21600"/>
                <a:gd name="T6" fmla="*/ 10800 w 21600"/>
                <a:gd name="T7" fmla="*/ 108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600" h="21600">
                  <a:moveTo>
                    <a:pt x="1200" y="21599"/>
                  </a:moveTo>
                  <a:lnTo>
                    <a:pt x="20400" y="21599"/>
                  </a:lnTo>
                  <a:cubicBezTo>
                    <a:pt x="21062" y="21599"/>
                    <a:pt x="21600" y="16748"/>
                    <a:pt x="21600" y="10800"/>
                  </a:cubicBezTo>
                  <a:cubicBezTo>
                    <a:pt x="21600" y="4830"/>
                    <a:pt x="21062" y="0"/>
                    <a:pt x="20400" y="0"/>
                  </a:cubicBezTo>
                  <a:lnTo>
                    <a:pt x="1200" y="0"/>
                  </a:lnTo>
                  <a:cubicBezTo>
                    <a:pt x="537" y="0"/>
                    <a:pt x="0" y="4830"/>
                    <a:pt x="0" y="10800"/>
                  </a:cubicBezTo>
                  <a:cubicBezTo>
                    <a:pt x="0" y="16748"/>
                    <a:pt x="537" y="21599"/>
                    <a:pt x="1200" y="21599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lIns="19045" tIns="19045" rIns="19045" bIns="19045" anchor="ctr"/>
            <a:lstStyle/>
            <a:p>
              <a:pPr algn="ctr" defTabSz="22860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50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31" name="深度视觉·原创设计 https://www.docer.com/works?userid=22383862"/>
            <p:cNvSpPr/>
            <p:nvPr/>
          </p:nvSpPr>
          <p:spPr bwMode="auto">
            <a:xfrm>
              <a:off x="6634163" y="1778000"/>
              <a:ext cx="130175" cy="15082"/>
            </a:xfrm>
            <a:custGeom>
              <a:avLst/>
              <a:gdLst>
                <a:gd name="T0" fmla="*/ 10800 w 21600"/>
                <a:gd name="T1" fmla="*/ 10800 h 21600"/>
                <a:gd name="T2" fmla="*/ 10800 w 21600"/>
                <a:gd name="T3" fmla="*/ 10800 h 21600"/>
                <a:gd name="T4" fmla="*/ 10800 w 21600"/>
                <a:gd name="T5" fmla="*/ 10800 h 21600"/>
                <a:gd name="T6" fmla="*/ 10800 w 21600"/>
                <a:gd name="T7" fmla="*/ 108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600" h="21600">
                  <a:moveTo>
                    <a:pt x="1200" y="21599"/>
                  </a:moveTo>
                  <a:lnTo>
                    <a:pt x="20400" y="21599"/>
                  </a:lnTo>
                  <a:cubicBezTo>
                    <a:pt x="21062" y="21599"/>
                    <a:pt x="21600" y="16748"/>
                    <a:pt x="21600" y="10800"/>
                  </a:cubicBezTo>
                  <a:cubicBezTo>
                    <a:pt x="21600" y="4830"/>
                    <a:pt x="21062" y="0"/>
                    <a:pt x="20400" y="0"/>
                  </a:cubicBezTo>
                  <a:lnTo>
                    <a:pt x="1200" y="0"/>
                  </a:lnTo>
                  <a:cubicBezTo>
                    <a:pt x="537" y="0"/>
                    <a:pt x="0" y="4830"/>
                    <a:pt x="0" y="10800"/>
                  </a:cubicBezTo>
                  <a:cubicBezTo>
                    <a:pt x="0" y="16748"/>
                    <a:pt x="537" y="21599"/>
                    <a:pt x="1200" y="21599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lIns="19045" tIns="19045" rIns="19045" bIns="19045" anchor="ctr"/>
            <a:lstStyle/>
            <a:p>
              <a:pPr algn="ctr" defTabSz="22860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50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32" name="深度视觉·原创设计 https://www.docer.com/works?userid=22383862"/>
            <p:cNvSpPr/>
            <p:nvPr/>
          </p:nvSpPr>
          <p:spPr bwMode="auto">
            <a:xfrm>
              <a:off x="6634163" y="1734344"/>
              <a:ext cx="130175" cy="15081"/>
            </a:xfrm>
            <a:custGeom>
              <a:avLst/>
              <a:gdLst>
                <a:gd name="T0" fmla="*/ 10800 w 21600"/>
                <a:gd name="T1" fmla="*/ 10800 h 21600"/>
                <a:gd name="T2" fmla="*/ 10800 w 21600"/>
                <a:gd name="T3" fmla="*/ 10800 h 21600"/>
                <a:gd name="T4" fmla="*/ 10800 w 21600"/>
                <a:gd name="T5" fmla="*/ 10800 h 21600"/>
                <a:gd name="T6" fmla="*/ 10800 w 21600"/>
                <a:gd name="T7" fmla="*/ 108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600" h="21600">
                  <a:moveTo>
                    <a:pt x="1200" y="21599"/>
                  </a:moveTo>
                  <a:lnTo>
                    <a:pt x="20400" y="21599"/>
                  </a:lnTo>
                  <a:cubicBezTo>
                    <a:pt x="21062" y="21599"/>
                    <a:pt x="21600" y="16748"/>
                    <a:pt x="21600" y="10800"/>
                  </a:cubicBezTo>
                  <a:cubicBezTo>
                    <a:pt x="21600" y="4830"/>
                    <a:pt x="21062" y="0"/>
                    <a:pt x="20400" y="0"/>
                  </a:cubicBezTo>
                  <a:lnTo>
                    <a:pt x="1200" y="0"/>
                  </a:lnTo>
                  <a:cubicBezTo>
                    <a:pt x="537" y="0"/>
                    <a:pt x="0" y="4830"/>
                    <a:pt x="0" y="10800"/>
                  </a:cubicBezTo>
                  <a:cubicBezTo>
                    <a:pt x="0" y="16748"/>
                    <a:pt x="537" y="21599"/>
                    <a:pt x="1200" y="21599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lIns="19045" tIns="19045" rIns="19045" bIns="19045" anchor="ctr"/>
            <a:lstStyle/>
            <a:p>
              <a:pPr algn="ctr" defTabSz="22860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50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33" name="深度视觉·原创设计 https://www.docer.com/works?userid=22383862"/>
            <p:cNvSpPr/>
            <p:nvPr/>
          </p:nvSpPr>
          <p:spPr bwMode="auto">
            <a:xfrm>
              <a:off x="6474619" y="2039938"/>
              <a:ext cx="130175" cy="14288"/>
            </a:xfrm>
            <a:custGeom>
              <a:avLst/>
              <a:gdLst>
                <a:gd name="T0" fmla="*/ 10800 w 21600"/>
                <a:gd name="T1" fmla="*/ 10800 h 21600"/>
                <a:gd name="T2" fmla="*/ 10800 w 21600"/>
                <a:gd name="T3" fmla="*/ 10800 h 21600"/>
                <a:gd name="T4" fmla="*/ 10800 w 21600"/>
                <a:gd name="T5" fmla="*/ 10800 h 21600"/>
                <a:gd name="T6" fmla="*/ 10800 w 21600"/>
                <a:gd name="T7" fmla="*/ 108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600" h="21600">
                  <a:moveTo>
                    <a:pt x="20400" y="0"/>
                  </a:moveTo>
                  <a:lnTo>
                    <a:pt x="1200" y="0"/>
                  </a:lnTo>
                  <a:cubicBezTo>
                    <a:pt x="537" y="0"/>
                    <a:pt x="0" y="4851"/>
                    <a:pt x="0" y="10800"/>
                  </a:cubicBezTo>
                  <a:cubicBezTo>
                    <a:pt x="0" y="16790"/>
                    <a:pt x="537" y="21599"/>
                    <a:pt x="1200" y="21599"/>
                  </a:cubicBezTo>
                  <a:lnTo>
                    <a:pt x="20400" y="21599"/>
                  </a:lnTo>
                  <a:cubicBezTo>
                    <a:pt x="21062" y="21599"/>
                    <a:pt x="21600" y="16790"/>
                    <a:pt x="21600" y="10800"/>
                  </a:cubicBezTo>
                  <a:cubicBezTo>
                    <a:pt x="21600" y="4851"/>
                    <a:pt x="21062" y="0"/>
                    <a:pt x="20400" y="0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lIns="19045" tIns="19045" rIns="19045" bIns="19045" anchor="ctr"/>
            <a:lstStyle/>
            <a:p>
              <a:pPr algn="ctr" defTabSz="22860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50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34" name="深度视觉·原创设计 https://www.docer.com/works?userid=22383862"/>
            <p:cNvSpPr/>
            <p:nvPr/>
          </p:nvSpPr>
          <p:spPr bwMode="auto">
            <a:xfrm>
              <a:off x="6474619" y="1996282"/>
              <a:ext cx="130175" cy="14288"/>
            </a:xfrm>
            <a:custGeom>
              <a:avLst/>
              <a:gdLst>
                <a:gd name="T0" fmla="*/ 10800 w 21600"/>
                <a:gd name="T1" fmla="*/ 10800 h 21600"/>
                <a:gd name="T2" fmla="*/ 10800 w 21600"/>
                <a:gd name="T3" fmla="*/ 10800 h 21600"/>
                <a:gd name="T4" fmla="*/ 10800 w 21600"/>
                <a:gd name="T5" fmla="*/ 10800 h 21600"/>
                <a:gd name="T6" fmla="*/ 10800 w 21600"/>
                <a:gd name="T7" fmla="*/ 108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600" h="21600">
                  <a:moveTo>
                    <a:pt x="20400" y="0"/>
                  </a:moveTo>
                  <a:lnTo>
                    <a:pt x="1200" y="0"/>
                  </a:lnTo>
                  <a:cubicBezTo>
                    <a:pt x="537" y="0"/>
                    <a:pt x="0" y="4851"/>
                    <a:pt x="0" y="10800"/>
                  </a:cubicBezTo>
                  <a:cubicBezTo>
                    <a:pt x="0" y="16790"/>
                    <a:pt x="537" y="21599"/>
                    <a:pt x="1200" y="21599"/>
                  </a:cubicBezTo>
                  <a:lnTo>
                    <a:pt x="20400" y="21599"/>
                  </a:lnTo>
                  <a:cubicBezTo>
                    <a:pt x="21062" y="21599"/>
                    <a:pt x="21600" y="16790"/>
                    <a:pt x="21600" y="10800"/>
                  </a:cubicBezTo>
                  <a:cubicBezTo>
                    <a:pt x="21600" y="4851"/>
                    <a:pt x="21062" y="0"/>
                    <a:pt x="20400" y="0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lIns="19045" tIns="19045" rIns="19045" bIns="19045" anchor="ctr"/>
            <a:lstStyle/>
            <a:p>
              <a:pPr algn="ctr" defTabSz="22860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50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35" name="深度视觉·原创设计 https://www.docer.com/works?userid=22383862"/>
            <p:cNvSpPr/>
            <p:nvPr/>
          </p:nvSpPr>
          <p:spPr bwMode="auto">
            <a:xfrm>
              <a:off x="6474619" y="1952625"/>
              <a:ext cx="130175" cy="14288"/>
            </a:xfrm>
            <a:custGeom>
              <a:avLst/>
              <a:gdLst>
                <a:gd name="T0" fmla="*/ 10800 w 21600"/>
                <a:gd name="T1" fmla="*/ 10800 h 21600"/>
                <a:gd name="T2" fmla="*/ 10800 w 21600"/>
                <a:gd name="T3" fmla="*/ 10800 h 21600"/>
                <a:gd name="T4" fmla="*/ 10800 w 21600"/>
                <a:gd name="T5" fmla="*/ 10800 h 21600"/>
                <a:gd name="T6" fmla="*/ 10800 w 21600"/>
                <a:gd name="T7" fmla="*/ 108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600" h="21600">
                  <a:moveTo>
                    <a:pt x="20400" y="0"/>
                  </a:moveTo>
                  <a:lnTo>
                    <a:pt x="1200" y="0"/>
                  </a:lnTo>
                  <a:cubicBezTo>
                    <a:pt x="537" y="0"/>
                    <a:pt x="0" y="4851"/>
                    <a:pt x="0" y="10800"/>
                  </a:cubicBezTo>
                  <a:cubicBezTo>
                    <a:pt x="0" y="16790"/>
                    <a:pt x="537" y="21599"/>
                    <a:pt x="1200" y="21599"/>
                  </a:cubicBezTo>
                  <a:lnTo>
                    <a:pt x="20400" y="21599"/>
                  </a:lnTo>
                  <a:cubicBezTo>
                    <a:pt x="21062" y="21599"/>
                    <a:pt x="21600" y="16790"/>
                    <a:pt x="21600" y="10800"/>
                  </a:cubicBezTo>
                  <a:cubicBezTo>
                    <a:pt x="21600" y="4851"/>
                    <a:pt x="21062" y="0"/>
                    <a:pt x="20400" y="0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lIns="19045" tIns="19045" rIns="19045" bIns="19045" anchor="ctr"/>
            <a:lstStyle/>
            <a:p>
              <a:pPr algn="ctr" defTabSz="22860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50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36" name="深度视觉·原创设计 https://www.docer.com/works?userid=22383862"/>
            <p:cNvSpPr/>
            <p:nvPr/>
          </p:nvSpPr>
          <p:spPr bwMode="auto">
            <a:xfrm>
              <a:off x="6634163" y="2039938"/>
              <a:ext cx="130175" cy="14288"/>
            </a:xfrm>
            <a:custGeom>
              <a:avLst/>
              <a:gdLst>
                <a:gd name="T0" fmla="*/ 10800 w 21600"/>
                <a:gd name="T1" fmla="*/ 10800 h 21600"/>
                <a:gd name="T2" fmla="*/ 10800 w 21600"/>
                <a:gd name="T3" fmla="*/ 10800 h 21600"/>
                <a:gd name="T4" fmla="*/ 10800 w 21600"/>
                <a:gd name="T5" fmla="*/ 10800 h 21600"/>
                <a:gd name="T6" fmla="*/ 10800 w 21600"/>
                <a:gd name="T7" fmla="*/ 108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600" h="21600">
                  <a:moveTo>
                    <a:pt x="20400" y="0"/>
                  </a:moveTo>
                  <a:lnTo>
                    <a:pt x="1200" y="0"/>
                  </a:lnTo>
                  <a:cubicBezTo>
                    <a:pt x="537" y="0"/>
                    <a:pt x="0" y="4851"/>
                    <a:pt x="0" y="10800"/>
                  </a:cubicBezTo>
                  <a:cubicBezTo>
                    <a:pt x="0" y="16790"/>
                    <a:pt x="537" y="21599"/>
                    <a:pt x="1200" y="21599"/>
                  </a:cubicBezTo>
                  <a:lnTo>
                    <a:pt x="20400" y="21599"/>
                  </a:lnTo>
                  <a:cubicBezTo>
                    <a:pt x="21062" y="21599"/>
                    <a:pt x="21600" y="16790"/>
                    <a:pt x="21600" y="10800"/>
                  </a:cubicBezTo>
                  <a:cubicBezTo>
                    <a:pt x="21600" y="4851"/>
                    <a:pt x="21062" y="0"/>
                    <a:pt x="20400" y="0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lIns="19045" tIns="19045" rIns="19045" bIns="19045" anchor="ctr"/>
            <a:lstStyle/>
            <a:p>
              <a:pPr algn="ctr" defTabSz="22860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50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37" name="深度视觉·原创设计 https://www.docer.com/works?userid=22383862"/>
            <p:cNvSpPr/>
            <p:nvPr/>
          </p:nvSpPr>
          <p:spPr bwMode="auto">
            <a:xfrm>
              <a:off x="6634163" y="1996282"/>
              <a:ext cx="130175" cy="14288"/>
            </a:xfrm>
            <a:custGeom>
              <a:avLst/>
              <a:gdLst>
                <a:gd name="T0" fmla="*/ 10800 w 21600"/>
                <a:gd name="T1" fmla="*/ 10800 h 21600"/>
                <a:gd name="T2" fmla="*/ 10800 w 21600"/>
                <a:gd name="T3" fmla="*/ 10800 h 21600"/>
                <a:gd name="T4" fmla="*/ 10800 w 21600"/>
                <a:gd name="T5" fmla="*/ 10800 h 21600"/>
                <a:gd name="T6" fmla="*/ 10800 w 21600"/>
                <a:gd name="T7" fmla="*/ 108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600" h="21600">
                  <a:moveTo>
                    <a:pt x="20400" y="0"/>
                  </a:moveTo>
                  <a:lnTo>
                    <a:pt x="1200" y="0"/>
                  </a:lnTo>
                  <a:cubicBezTo>
                    <a:pt x="537" y="0"/>
                    <a:pt x="0" y="4851"/>
                    <a:pt x="0" y="10800"/>
                  </a:cubicBezTo>
                  <a:cubicBezTo>
                    <a:pt x="0" y="16790"/>
                    <a:pt x="537" y="21599"/>
                    <a:pt x="1200" y="21599"/>
                  </a:cubicBezTo>
                  <a:lnTo>
                    <a:pt x="20400" y="21599"/>
                  </a:lnTo>
                  <a:cubicBezTo>
                    <a:pt x="21062" y="21599"/>
                    <a:pt x="21600" y="16790"/>
                    <a:pt x="21600" y="10800"/>
                  </a:cubicBezTo>
                  <a:cubicBezTo>
                    <a:pt x="21600" y="4851"/>
                    <a:pt x="21062" y="0"/>
                    <a:pt x="20400" y="0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lIns="19045" tIns="19045" rIns="19045" bIns="19045" anchor="ctr"/>
            <a:lstStyle/>
            <a:p>
              <a:pPr algn="ctr" defTabSz="22860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50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38" name="深度视觉·原创设计 https://www.docer.com/works?userid=22383862"/>
            <p:cNvSpPr/>
            <p:nvPr/>
          </p:nvSpPr>
          <p:spPr bwMode="auto">
            <a:xfrm>
              <a:off x="6634163" y="1952625"/>
              <a:ext cx="130175" cy="14288"/>
            </a:xfrm>
            <a:custGeom>
              <a:avLst/>
              <a:gdLst>
                <a:gd name="T0" fmla="*/ 10800 w 21600"/>
                <a:gd name="T1" fmla="*/ 10800 h 21600"/>
                <a:gd name="T2" fmla="*/ 10800 w 21600"/>
                <a:gd name="T3" fmla="*/ 10800 h 21600"/>
                <a:gd name="T4" fmla="*/ 10800 w 21600"/>
                <a:gd name="T5" fmla="*/ 10800 h 21600"/>
                <a:gd name="T6" fmla="*/ 10800 w 21600"/>
                <a:gd name="T7" fmla="*/ 108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600" h="21600">
                  <a:moveTo>
                    <a:pt x="20400" y="0"/>
                  </a:moveTo>
                  <a:lnTo>
                    <a:pt x="1200" y="0"/>
                  </a:lnTo>
                  <a:cubicBezTo>
                    <a:pt x="537" y="0"/>
                    <a:pt x="0" y="4851"/>
                    <a:pt x="0" y="10800"/>
                  </a:cubicBezTo>
                  <a:cubicBezTo>
                    <a:pt x="0" y="16790"/>
                    <a:pt x="537" y="21599"/>
                    <a:pt x="1200" y="21599"/>
                  </a:cubicBezTo>
                  <a:lnTo>
                    <a:pt x="20400" y="21599"/>
                  </a:lnTo>
                  <a:cubicBezTo>
                    <a:pt x="21062" y="21599"/>
                    <a:pt x="21600" y="16790"/>
                    <a:pt x="21600" y="10800"/>
                  </a:cubicBezTo>
                  <a:cubicBezTo>
                    <a:pt x="21600" y="4851"/>
                    <a:pt x="21062" y="0"/>
                    <a:pt x="20400" y="0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lIns="19045" tIns="19045" rIns="19045" bIns="19045" anchor="ctr"/>
            <a:lstStyle/>
            <a:p>
              <a:pPr algn="ctr" defTabSz="22860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50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39" name="深度视觉·原创设计 https://www.docer.com/works?userid=22383862"/>
            <p:cNvSpPr/>
            <p:nvPr/>
          </p:nvSpPr>
          <p:spPr bwMode="auto">
            <a:xfrm>
              <a:off x="6474619" y="1865313"/>
              <a:ext cx="289719" cy="14288"/>
            </a:xfrm>
            <a:custGeom>
              <a:avLst/>
              <a:gdLst>
                <a:gd name="T0" fmla="*/ 10800 w 21600"/>
                <a:gd name="T1" fmla="*/ 10800 h 21600"/>
                <a:gd name="T2" fmla="*/ 10800 w 21600"/>
                <a:gd name="T3" fmla="*/ 10800 h 21600"/>
                <a:gd name="T4" fmla="*/ 10800 w 21600"/>
                <a:gd name="T5" fmla="*/ 10800 h 21600"/>
                <a:gd name="T6" fmla="*/ 10800 w 21600"/>
                <a:gd name="T7" fmla="*/ 108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600" h="21600">
                  <a:moveTo>
                    <a:pt x="21060" y="0"/>
                  </a:moveTo>
                  <a:lnTo>
                    <a:pt x="540" y="0"/>
                  </a:lnTo>
                  <a:cubicBezTo>
                    <a:pt x="242" y="0"/>
                    <a:pt x="0" y="4851"/>
                    <a:pt x="0" y="10800"/>
                  </a:cubicBezTo>
                  <a:cubicBezTo>
                    <a:pt x="0" y="16769"/>
                    <a:pt x="242" y="21599"/>
                    <a:pt x="540" y="21599"/>
                  </a:cubicBezTo>
                  <a:lnTo>
                    <a:pt x="21060" y="21599"/>
                  </a:lnTo>
                  <a:cubicBezTo>
                    <a:pt x="21357" y="21599"/>
                    <a:pt x="21600" y="16769"/>
                    <a:pt x="21600" y="10800"/>
                  </a:cubicBezTo>
                  <a:cubicBezTo>
                    <a:pt x="21600" y="4851"/>
                    <a:pt x="21357" y="0"/>
                    <a:pt x="21060" y="0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lIns="19045" tIns="19045" rIns="19045" bIns="19045" anchor="ctr"/>
            <a:lstStyle/>
            <a:p>
              <a:pPr algn="ctr" defTabSz="22860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50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40" name="深度视觉·原创设计 https://www.docer.com/works?userid=22383862"/>
            <p:cNvSpPr/>
            <p:nvPr/>
          </p:nvSpPr>
          <p:spPr bwMode="auto">
            <a:xfrm>
              <a:off x="6474619" y="1908969"/>
              <a:ext cx="289719" cy="14288"/>
            </a:xfrm>
            <a:custGeom>
              <a:avLst/>
              <a:gdLst>
                <a:gd name="T0" fmla="*/ 10800 w 21600"/>
                <a:gd name="T1" fmla="*/ 10800 h 21600"/>
                <a:gd name="T2" fmla="*/ 10800 w 21600"/>
                <a:gd name="T3" fmla="*/ 10800 h 21600"/>
                <a:gd name="T4" fmla="*/ 10800 w 21600"/>
                <a:gd name="T5" fmla="*/ 10800 h 21600"/>
                <a:gd name="T6" fmla="*/ 10800 w 21600"/>
                <a:gd name="T7" fmla="*/ 108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600" h="21600">
                  <a:moveTo>
                    <a:pt x="21060" y="0"/>
                  </a:moveTo>
                  <a:lnTo>
                    <a:pt x="540" y="0"/>
                  </a:lnTo>
                  <a:cubicBezTo>
                    <a:pt x="242" y="0"/>
                    <a:pt x="0" y="4851"/>
                    <a:pt x="0" y="10800"/>
                  </a:cubicBezTo>
                  <a:cubicBezTo>
                    <a:pt x="0" y="16790"/>
                    <a:pt x="242" y="21599"/>
                    <a:pt x="540" y="21599"/>
                  </a:cubicBezTo>
                  <a:lnTo>
                    <a:pt x="21060" y="21599"/>
                  </a:lnTo>
                  <a:cubicBezTo>
                    <a:pt x="21357" y="21599"/>
                    <a:pt x="21600" y="16790"/>
                    <a:pt x="21600" y="10800"/>
                  </a:cubicBezTo>
                  <a:cubicBezTo>
                    <a:pt x="21600" y="4851"/>
                    <a:pt x="21357" y="0"/>
                    <a:pt x="21060" y="0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lIns="19045" tIns="19045" rIns="19045" bIns="19045" anchor="ctr"/>
            <a:lstStyle/>
            <a:p>
              <a:pPr algn="ctr" defTabSz="22860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500" dirty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41" name="深度视觉·原创设计 https://www.docer.com/works?userid=22383862"/>
            <p:cNvSpPr/>
            <p:nvPr/>
          </p:nvSpPr>
          <p:spPr bwMode="auto">
            <a:xfrm>
              <a:off x="6474619" y="1705769"/>
              <a:ext cx="130175" cy="130175"/>
            </a:xfrm>
            <a:custGeom>
              <a:avLst/>
              <a:gdLst>
                <a:gd name="T0" fmla="*/ 10800 w 21600"/>
                <a:gd name="T1" fmla="*/ 10800 h 21600"/>
                <a:gd name="T2" fmla="*/ 10800 w 21600"/>
                <a:gd name="T3" fmla="*/ 10800 h 21600"/>
                <a:gd name="T4" fmla="*/ 10800 w 21600"/>
                <a:gd name="T5" fmla="*/ 10800 h 21600"/>
                <a:gd name="T6" fmla="*/ 10800 w 21600"/>
                <a:gd name="T7" fmla="*/ 108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600" h="21600">
                  <a:moveTo>
                    <a:pt x="4799" y="4792"/>
                  </a:moveTo>
                  <a:lnTo>
                    <a:pt x="16800" y="4792"/>
                  </a:lnTo>
                  <a:lnTo>
                    <a:pt x="16800" y="16797"/>
                  </a:lnTo>
                  <a:lnTo>
                    <a:pt x="4799" y="16797"/>
                  </a:lnTo>
                  <a:cubicBezTo>
                    <a:pt x="4799" y="16797"/>
                    <a:pt x="4799" y="4792"/>
                    <a:pt x="4799" y="4792"/>
                  </a:cubicBezTo>
                  <a:close/>
                  <a:moveTo>
                    <a:pt x="2399" y="21600"/>
                  </a:moveTo>
                  <a:lnTo>
                    <a:pt x="19199" y="21600"/>
                  </a:lnTo>
                  <a:cubicBezTo>
                    <a:pt x="20527" y="21600"/>
                    <a:pt x="21600" y="20523"/>
                    <a:pt x="21600" y="19198"/>
                  </a:cubicBezTo>
                  <a:lnTo>
                    <a:pt x="21600" y="2401"/>
                  </a:lnTo>
                  <a:cubicBezTo>
                    <a:pt x="21600" y="1076"/>
                    <a:pt x="20527" y="0"/>
                    <a:pt x="19199" y="0"/>
                  </a:cubicBezTo>
                  <a:lnTo>
                    <a:pt x="2399" y="0"/>
                  </a:lnTo>
                  <a:cubicBezTo>
                    <a:pt x="1072" y="0"/>
                    <a:pt x="0" y="1076"/>
                    <a:pt x="0" y="2401"/>
                  </a:cubicBezTo>
                  <a:lnTo>
                    <a:pt x="0" y="19198"/>
                  </a:lnTo>
                  <a:cubicBezTo>
                    <a:pt x="0" y="20523"/>
                    <a:pt x="1072" y="21600"/>
                    <a:pt x="2399" y="21600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lIns="19045" tIns="19045" rIns="19045" bIns="19045" anchor="ctr"/>
            <a:lstStyle/>
            <a:p>
              <a:pPr algn="ctr" defTabSz="22860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50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</p:grpSp>
      <p:sp>
        <p:nvSpPr>
          <p:cNvPr id="43" name="深度视觉·原创设计 https://www.docer.com/works?userid=22383862"/>
          <p:cNvSpPr txBox="1"/>
          <p:nvPr/>
        </p:nvSpPr>
        <p:spPr>
          <a:xfrm>
            <a:off x="6340928" y="604158"/>
            <a:ext cx="5404758" cy="5698672"/>
          </a:xfrm>
          <a:custGeom>
            <a:avLst/>
            <a:gdLst>
              <a:gd name="connsiteX0" fmla="*/ 2702379 w 5404758"/>
              <a:gd name="connsiteY0" fmla="*/ 0 h 5698672"/>
              <a:gd name="connsiteX1" fmla="*/ 5404758 w 5404758"/>
              <a:gd name="connsiteY1" fmla="*/ 0 h 5698672"/>
              <a:gd name="connsiteX2" fmla="*/ 5404758 w 5404758"/>
              <a:gd name="connsiteY2" fmla="*/ 5698671 h 5698672"/>
              <a:gd name="connsiteX3" fmla="*/ 2702379 w 5404758"/>
              <a:gd name="connsiteY3" fmla="*/ 5698672 h 5698672"/>
              <a:gd name="connsiteX4" fmla="*/ 0 w 5404758"/>
              <a:gd name="connsiteY4" fmla="*/ 2849336 h 5698672"/>
              <a:gd name="connsiteX5" fmla="*/ 2702379 w 5404758"/>
              <a:gd name="connsiteY5" fmla="*/ 0 h 56986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404758" h="5698672">
                <a:moveTo>
                  <a:pt x="2702379" y="0"/>
                </a:moveTo>
                <a:lnTo>
                  <a:pt x="5404758" y="0"/>
                </a:lnTo>
                <a:lnTo>
                  <a:pt x="5404758" y="5698671"/>
                </a:lnTo>
                <a:lnTo>
                  <a:pt x="2702379" y="5698672"/>
                </a:lnTo>
                <a:cubicBezTo>
                  <a:pt x="1209896" y="5698672"/>
                  <a:pt x="0" y="4422981"/>
                  <a:pt x="0" y="2849336"/>
                </a:cubicBezTo>
                <a:cubicBezTo>
                  <a:pt x="0" y="1275691"/>
                  <a:pt x="1209896" y="0"/>
                  <a:pt x="2702379" y="0"/>
                </a:cubicBezTo>
                <a:close/>
              </a:path>
            </a:pathLst>
          </a:custGeom>
          <a:blipFill>
            <a:blip r:embed="rId1"/>
            <a:stretch>
              <a:fillRect t="-21132" b="-21132"/>
            </a:stretch>
          </a:blipFill>
        </p:spPr>
        <p:txBody>
          <a:bodyPr/>
          <a:lstStyle/>
          <a:p>
            <a:endParaRPr lang="zh-CN" altLang="en-US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44" name="深度视觉·原创设计 https://www.docer.com/works?userid=22383862"/>
          <p:cNvSpPr txBox="1"/>
          <p:nvPr/>
        </p:nvSpPr>
        <p:spPr>
          <a:xfrm>
            <a:off x="800140" y="1460490"/>
            <a:ext cx="264687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zh-CN" altLang="en-US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页面标题内容</a:t>
            </a:r>
            <a:endParaRPr lang="zh-CN" altLang="en-US" sz="3200" dirty="0">
              <a:solidFill>
                <a:schemeClr val="tx1">
                  <a:lumMod val="75000"/>
                  <a:lumOff val="25000"/>
                </a:schemeClr>
              </a:solidFill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45" name="深度视觉·原创设计 https://www.docer.com/works?userid=22383862"/>
          <p:cNvSpPr txBox="1"/>
          <p:nvPr/>
        </p:nvSpPr>
        <p:spPr>
          <a:xfrm>
            <a:off x="800140" y="2185301"/>
            <a:ext cx="4313296" cy="851499"/>
          </a:xfrm>
          <a:prstGeom prst="rect">
            <a:avLst/>
          </a:prstGeom>
          <a:noFill/>
        </p:spPr>
        <p:txBody>
          <a:bodyPr wrap="square" lIns="91423" tIns="45712" rIns="91423" bIns="45712" rtlCol="0">
            <a:spAutoFit/>
          </a:bodyPr>
          <a:lstStyle/>
          <a:p>
            <a:pPr marL="0" marR="0" lvl="0" indent="0" algn="l" defTabSz="1217930" rtl="0" eaLnBrk="1" fontAlgn="auto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400" dirty="0">
                <a:solidFill>
                  <a:schemeClr val="bg1">
                    <a:lumMod val="50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请在此处添加具体内容，文字尽量言简意赅，简单说明即可，不必过于繁琐，注意板面美观度。请在此处添加具体内容，文字尽量言简意赅，简单说明即可。</a:t>
            </a:r>
            <a:endParaRPr kumimoji="0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46" name="深度视觉·原创设计 https://www.docer.com/works?userid=22383862"/>
          <p:cNvSpPr/>
          <p:nvPr/>
        </p:nvSpPr>
        <p:spPr>
          <a:xfrm>
            <a:off x="1463626" y="5208432"/>
            <a:ext cx="1891260" cy="8399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lnSpc>
                <a:spcPts val="2000"/>
              </a:lnSpc>
              <a:defRPr/>
            </a:pPr>
            <a:r>
              <a:rPr lang="zh-CN" altLang="en-US" sz="1100" dirty="0">
                <a:solidFill>
                  <a:schemeClr val="bg1">
                    <a:lumMod val="50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请在此处添加具体内容，文字尽量言简意赅，简单说明即可，不必过于繁琐</a:t>
            </a:r>
            <a:endParaRPr lang="zh-CN" altLang="en-US" sz="1100" dirty="0">
              <a:solidFill>
                <a:schemeClr val="bg1">
                  <a:lumMod val="50000"/>
                </a:schemeClr>
              </a:solidFill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47" name="深度视觉·原创设计 https://www.docer.com/works?userid=22383862"/>
          <p:cNvSpPr/>
          <p:nvPr/>
        </p:nvSpPr>
        <p:spPr>
          <a:xfrm>
            <a:off x="1463626" y="4887189"/>
            <a:ext cx="1092141" cy="3371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600" b="1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汉仪正圆-55W" panose="00020600040101010101" pitchFamily="18" charset="-122"/>
                <a:ea typeface="汉仪正圆-55W" panose="00020600040101010101" pitchFamily="18" charset="-122"/>
                <a:cs typeface="Open Sans" pitchFamily="34" charset="0"/>
                <a:sym typeface="汉仪正圆-55W" panose="00020600040101010101" pitchFamily="18" charset="-122"/>
              </a:rPr>
              <a:t>添加标题</a:t>
            </a:r>
            <a:endParaRPr kumimoji="0" lang="zh-CN" altLang="en-US" sz="16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汉仪正圆-55W" panose="00020600040101010101" pitchFamily="18" charset="-122"/>
              <a:ea typeface="汉仪正圆-55W" panose="00020600040101010101" pitchFamily="18" charset="-122"/>
              <a:cs typeface="Open Sans" pitchFamily="34" charset="0"/>
              <a:sym typeface="汉仪正圆-55W" panose="00020600040101010101" pitchFamily="18" charset="-122"/>
            </a:endParaRPr>
          </a:p>
        </p:txBody>
      </p:sp>
      <p:sp>
        <p:nvSpPr>
          <p:cNvPr id="48" name="深度视觉·原创设计 https://www.docer.com/works?userid=22383862"/>
          <p:cNvSpPr/>
          <p:nvPr/>
        </p:nvSpPr>
        <p:spPr>
          <a:xfrm>
            <a:off x="4140684" y="5208432"/>
            <a:ext cx="1891260" cy="8399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lnSpc>
                <a:spcPts val="2000"/>
              </a:lnSpc>
              <a:defRPr/>
            </a:pPr>
            <a:r>
              <a:rPr lang="zh-CN" altLang="en-US" sz="1100" dirty="0">
                <a:solidFill>
                  <a:schemeClr val="bg1">
                    <a:lumMod val="50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请在此处添加具体内容，文字尽量言简意赅，简单说明即可，不必过于繁琐</a:t>
            </a:r>
            <a:endParaRPr lang="zh-CN" altLang="en-US" sz="1100" dirty="0">
              <a:solidFill>
                <a:schemeClr val="bg1">
                  <a:lumMod val="50000"/>
                </a:schemeClr>
              </a:solidFill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49" name="深度视觉·原创设计 https://www.docer.com/works?userid=22383862"/>
          <p:cNvSpPr/>
          <p:nvPr/>
        </p:nvSpPr>
        <p:spPr>
          <a:xfrm>
            <a:off x="4140684" y="4887189"/>
            <a:ext cx="1092141" cy="3371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600" b="1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汉仪正圆-55W" panose="00020600040101010101" pitchFamily="18" charset="-122"/>
                <a:ea typeface="汉仪正圆-55W" panose="00020600040101010101" pitchFamily="18" charset="-122"/>
                <a:cs typeface="Open Sans" pitchFamily="34" charset="0"/>
                <a:sym typeface="汉仪正圆-55W" panose="00020600040101010101" pitchFamily="18" charset="-122"/>
              </a:rPr>
              <a:t>添加标题</a:t>
            </a:r>
            <a:endParaRPr kumimoji="0" lang="zh-CN" altLang="en-US" sz="16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汉仪正圆-55W" panose="00020600040101010101" pitchFamily="18" charset="-122"/>
              <a:ea typeface="汉仪正圆-55W" panose="00020600040101010101" pitchFamily="18" charset="-122"/>
              <a:cs typeface="Open Sans" pitchFamily="34" charset="0"/>
              <a:sym typeface="汉仪正圆-55W" panose="00020600040101010101" pitchFamily="18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5" grpId="0"/>
      <p:bldP spid="46" grpId="0"/>
      <p:bldP spid="47" grpId="0"/>
      <p:bldP spid="48" grpId="0"/>
      <p:bldP spid="49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深度视觉·原创设计 https://www.docer.com/works?userid=22383862"/>
          <p:cNvSpPr/>
          <p:nvPr/>
        </p:nvSpPr>
        <p:spPr>
          <a:xfrm flipH="1">
            <a:off x="9677400" y="4533899"/>
            <a:ext cx="2514600" cy="2324101"/>
          </a:xfrm>
          <a:prstGeom prst="corner">
            <a:avLst>
              <a:gd name="adj1" fmla="val 17397"/>
              <a:gd name="adj2" fmla="val 16614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6" name="深度视觉·原创设计 https://www.docer.com/works?userid=22383862"/>
          <p:cNvSpPr/>
          <p:nvPr/>
        </p:nvSpPr>
        <p:spPr>
          <a:xfrm rot="10800000" flipH="1">
            <a:off x="0" y="0"/>
            <a:ext cx="2514600" cy="2324101"/>
          </a:xfrm>
          <a:prstGeom prst="corner">
            <a:avLst>
              <a:gd name="adj1" fmla="val 17397"/>
              <a:gd name="adj2" fmla="val 16614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8" name="深度视觉·原创设计 https://www.docer.com/works?userid=22383862"/>
          <p:cNvSpPr txBox="1"/>
          <p:nvPr/>
        </p:nvSpPr>
        <p:spPr>
          <a:xfrm>
            <a:off x="1645262" y="2813447"/>
            <a:ext cx="4857138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4000" b="1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汉仪正圆-55W" panose="00020600040101010101" pitchFamily="18" charset="-122"/>
                <a:ea typeface="汉仪正圆-55W" panose="00020600040101010101" pitchFamily="18" charset="-122"/>
                <a:cs typeface="Alibaba PuHuiTi" pitchFamily="18" charset="-122"/>
                <a:sym typeface="汉仪正圆-55W" panose="00020600040101010101" pitchFamily="18" charset="-122"/>
              </a:rPr>
              <a:t>工作完成进度</a:t>
            </a:r>
            <a:endParaRPr kumimoji="0" lang="zh-CN" altLang="en-US" sz="40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汉仪正圆-55W" panose="00020600040101010101" pitchFamily="18" charset="-122"/>
              <a:ea typeface="汉仪正圆-55W" panose="00020600040101010101" pitchFamily="18" charset="-122"/>
              <a:cs typeface="Alibaba PuHuiTi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9" name="深度视觉·原创设计 https://www.docer.com/works?userid=22383862"/>
          <p:cNvSpPr/>
          <p:nvPr/>
        </p:nvSpPr>
        <p:spPr>
          <a:xfrm>
            <a:off x="1645262" y="2080208"/>
            <a:ext cx="2103800" cy="500806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>
                <a:solidFill>
                  <a:schemeClr val="lt1"/>
                </a:solidFill>
              </a:defRPr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2800" dirty="0">
                <a:solidFill>
                  <a:schemeClr val="bg1"/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cs typeface="Alibaba PuHuiTi" pitchFamily="18" charset="-122"/>
                <a:sym typeface="汉仪正圆-55W" panose="00020600040101010101" pitchFamily="18" charset="-122"/>
              </a:rPr>
              <a:t>PART 02</a:t>
            </a:r>
            <a:endParaRPr lang="zh-CN" altLang="en-US" sz="2800" dirty="0">
              <a:solidFill>
                <a:schemeClr val="bg1"/>
              </a:solidFill>
              <a:latin typeface="汉仪正圆-55W" panose="00020600040101010101" pitchFamily="18" charset="-122"/>
              <a:ea typeface="汉仪正圆-55W" panose="00020600040101010101" pitchFamily="18" charset="-122"/>
              <a:cs typeface="Alibaba PuHuiTi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10" name="深度视觉·原创设计 https://www.docer.com/works?userid=22383862"/>
          <p:cNvSpPr txBox="1"/>
          <p:nvPr/>
        </p:nvSpPr>
        <p:spPr>
          <a:xfrm>
            <a:off x="1645262" y="3661433"/>
            <a:ext cx="4305595" cy="10348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400" dirty="0">
                <a:solidFill>
                  <a:schemeClr val="tx1">
                    <a:lumMod val="85000"/>
                    <a:lumOff val="15000"/>
                    <a:alpha val="50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cs typeface="Alibaba PuHuiTi" pitchFamily="18" charset="-122"/>
                <a:sym typeface="汉仪正圆-55W" panose="00020600040101010101" pitchFamily="18" charset="-122"/>
              </a:rPr>
              <a:t>正文内容，本段适应大段文字章节。如果文字较多的内容描述比较适合放在这里，请在此修改您的内容，或者将内容粘贴到记事本后，复制到此段落中。</a:t>
            </a:r>
            <a:endParaRPr lang="en-US" altLang="zh-CN" sz="1400" dirty="0">
              <a:solidFill>
                <a:schemeClr val="tx1">
                  <a:lumMod val="85000"/>
                  <a:lumOff val="15000"/>
                  <a:alpha val="50000"/>
                </a:schemeClr>
              </a:solidFill>
              <a:latin typeface="汉仪正圆-55W" panose="00020600040101010101" pitchFamily="18" charset="-122"/>
              <a:ea typeface="汉仪正圆-55W" panose="00020600040101010101" pitchFamily="18" charset="-122"/>
              <a:cs typeface="Alibaba PuHuiTi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12" name="深度视觉·原创设计 https://www.docer.com/works?userid=22383862"/>
          <p:cNvSpPr/>
          <p:nvPr/>
        </p:nvSpPr>
        <p:spPr>
          <a:xfrm>
            <a:off x="6763658" y="2080208"/>
            <a:ext cx="4044338" cy="2604967"/>
          </a:xfrm>
          <a:custGeom>
            <a:avLst/>
            <a:gdLst>
              <a:gd name="connsiteX0" fmla="*/ 0 w 4044338"/>
              <a:gd name="connsiteY0" fmla="*/ 0 h 2604967"/>
              <a:gd name="connsiteX1" fmla="*/ 4044338 w 4044338"/>
              <a:gd name="connsiteY1" fmla="*/ 0 h 2604967"/>
              <a:gd name="connsiteX2" fmla="*/ 4044338 w 4044338"/>
              <a:gd name="connsiteY2" fmla="*/ 2604967 h 2604967"/>
              <a:gd name="connsiteX3" fmla="*/ 0 w 4044338"/>
              <a:gd name="connsiteY3" fmla="*/ 2604967 h 26049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44338" h="2604967">
                <a:moveTo>
                  <a:pt x="0" y="0"/>
                </a:moveTo>
                <a:lnTo>
                  <a:pt x="4044338" y="0"/>
                </a:lnTo>
                <a:lnTo>
                  <a:pt x="4044338" y="2604967"/>
                </a:lnTo>
                <a:lnTo>
                  <a:pt x="0" y="2604967"/>
                </a:lnTo>
                <a:close/>
              </a:path>
            </a:pathLst>
          </a:custGeom>
          <a:blipFill>
            <a:blip r:embed="rId1"/>
            <a:srcRect/>
            <a:stretch>
              <a:fillRect t="-66441" b="-66441"/>
            </a:stretch>
          </a:blip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/>
                <a:tailEnd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深度视觉·原创设计 https://www.docer.com/works?userid=22383862"/>
          <p:cNvSpPr/>
          <p:nvPr/>
        </p:nvSpPr>
        <p:spPr>
          <a:xfrm flipH="1">
            <a:off x="11252019" y="5989229"/>
            <a:ext cx="939981" cy="868771"/>
          </a:xfrm>
          <a:prstGeom prst="corner">
            <a:avLst>
              <a:gd name="adj1" fmla="val 17397"/>
              <a:gd name="adj2" fmla="val 16614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32" name="深度视觉·原创设计 https://www.docer.com/works?userid=22383862"/>
          <p:cNvSpPr/>
          <p:nvPr/>
        </p:nvSpPr>
        <p:spPr>
          <a:xfrm rot="10800000" flipH="1">
            <a:off x="0" y="0"/>
            <a:ext cx="939981" cy="868771"/>
          </a:xfrm>
          <a:prstGeom prst="corner">
            <a:avLst>
              <a:gd name="adj1" fmla="val 17397"/>
              <a:gd name="adj2" fmla="val 16614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33" name="深度视觉·原创设计 https://www.docer.com/works?userid=22383862"/>
          <p:cNvSpPr/>
          <p:nvPr/>
        </p:nvSpPr>
        <p:spPr>
          <a:xfrm>
            <a:off x="4535714" y="350796"/>
            <a:ext cx="3120572" cy="51797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34" name="深度视觉·原创设计 https://www.docer.com/works?userid=22383862"/>
          <p:cNvSpPr txBox="1"/>
          <p:nvPr/>
        </p:nvSpPr>
        <p:spPr>
          <a:xfrm>
            <a:off x="4966459" y="455895"/>
            <a:ext cx="2259081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2000" spc="300" dirty="0">
                <a:solidFill>
                  <a:schemeClr val="tx1">
                    <a:lumMod val="75000"/>
                    <a:lumOff val="25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cs typeface="Alibaba PuHuiTi" pitchFamily="18" charset="-122"/>
                <a:sym typeface="汉仪正圆-55W" panose="00020600040101010101" pitchFamily="18" charset="-122"/>
              </a:rPr>
              <a:t>输入您的标题</a:t>
            </a:r>
            <a:endParaRPr kumimoji="0" lang="zh-CN" altLang="en-US" sz="2000" i="0" u="none" strike="noStrike" kern="1200" cap="none" spc="30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汉仪正圆-55W" panose="00020600040101010101" pitchFamily="18" charset="-122"/>
              <a:ea typeface="汉仪正圆-55W" panose="00020600040101010101" pitchFamily="18" charset="-122"/>
              <a:cs typeface="Alibaba PuHuiTi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3" name="深度视觉·原创设计 https://www.docer.com/works?userid=22383862"/>
          <p:cNvSpPr/>
          <p:nvPr/>
        </p:nvSpPr>
        <p:spPr bwMode="auto">
          <a:xfrm>
            <a:off x="6740081" y="2010168"/>
            <a:ext cx="4261420" cy="2600766"/>
          </a:xfrm>
          <a:custGeom>
            <a:avLst/>
            <a:gdLst>
              <a:gd name="T0" fmla="*/ 2537 w 2537"/>
              <a:gd name="T1" fmla="*/ 1533 h 1533"/>
              <a:gd name="T2" fmla="*/ 2537 w 2537"/>
              <a:gd name="T3" fmla="*/ 71 h 1533"/>
              <a:gd name="T4" fmla="*/ 2467 w 2537"/>
              <a:gd name="T5" fmla="*/ 0 h 1533"/>
              <a:gd name="T6" fmla="*/ 71 w 2537"/>
              <a:gd name="T7" fmla="*/ 0 h 1533"/>
              <a:gd name="T8" fmla="*/ 0 w 2537"/>
              <a:gd name="T9" fmla="*/ 71 h 1533"/>
              <a:gd name="T10" fmla="*/ 0 w 2537"/>
              <a:gd name="T11" fmla="*/ 1533 h 1533"/>
              <a:gd name="T12" fmla="*/ 2537 w 2537"/>
              <a:gd name="T13" fmla="*/ 1533 h 15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537" h="1533">
                <a:moveTo>
                  <a:pt x="2537" y="1533"/>
                </a:moveTo>
                <a:cubicBezTo>
                  <a:pt x="2537" y="71"/>
                  <a:pt x="2537" y="71"/>
                  <a:pt x="2537" y="71"/>
                </a:cubicBezTo>
                <a:cubicBezTo>
                  <a:pt x="2537" y="32"/>
                  <a:pt x="2506" y="0"/>
                  <a:pt x="2467" y="0"/>
                </a:cubicBezTo>
                <a:cubicBezTo>
                  <a:pt x="71" y="0"/>
                  <a:pt x="71" y="0"/>
                  <a:pt x="71" y="0"/>
                </a:cubicBezTo>
                <a:cubicBezTo>
                  <a:pt x="32" y="0"/>
                  <a:pt x="0" y="32"/>
                  <a:pt x="0" y="71"/>
                </a:cubicBezTo>
                <a:cubicBezTo>
                  <a:pt x="0" y="1533"/>
                  <a:pt x="0" y="1533"/>
                  <a:pt x="0" y="1533"/>
                </a:cubicBezTo>
                <a:lnTo>
                  <a:pt x="2537" y="1533"/>
                </a:lnTo>
                <a:close/>
              </a:path>
            </a:pathLst>
          </a:custGeom>
          <a:solidFill>
            <a:srgbClr val="181818"/>
          </a:solidFill>
          <a:ln>
            <a:noFill/>
          </a:ln>
        </p:spPr>
        <p:txBody>
          <a:bodyPr vert="horz" wrap="square" lIns="45702" tIns="22851" rIns="45702" bIns="22851" numCol="1" anchor="t" anchorCtr="0" compatLnSpc="1"/>
          <a:lstStyle/>
          <a:p>
            <a:endParaRPr lang="id-ID" dirty="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4" name="深度视觉·原创设计 https://www.docer.com/works?userid=22383862"/>
          <p:cNvSpPr>
            <a:spLocks noEditPoints="1"/>
          </p:cNvSpPr>
          <p:nvPr/>
        </p:nvSpPr>
        <p:spPr bwMode="auto">
          <a:xfrm>
            <a:off x="6905939" y="2187104"/>
            <a:ext cx="3929704" cy="2244991"/>
          </a:xfrm>
          <a:custGeom>
            <a:avLst/>
            <a:gdLst>
              <a:gd name="T0" fmla="*/ 2075 w 2085"/>
              <a:gd name="T1" fmla="*/ 10 h 1180"/>
              <a:gd name="T2" fmla="*/ 2075 w 2085"/>
              <a:gd name="T3" fmla="*/ 1170 h 1180"/>
              <a:gd name="T4" fmla="*/ 10 w 2085"/>
              <a:gd name="T5" fmla="*/ 1170 h 1180"/>
              <a:gd name="T6" fmla="*/ 10 w 2085"/>
              <a:gd name="T7" fmla="*/ 10 h 1180"/>
              <a:gd name="T8" fmla="*/ 2075 w 2085"/>
              <a:gd name="T9" fmla="*/ 10 h 1180"/>
              <a:gd name="T10" fmla="*/ 2085 w 2085"/>
              <a:gd name="T11" fmla="*/ 0 h 1180"/>
              <a:gd name="T12" fmla="*/ 2075 w 2085"/>
              <a:gd name="T13" fmla="*/ 0 h 1180"/>
              <a:gd name="T14" fmla="*/ 10 w 2085"/>
              <a:gd name="T15" fmla="*/ 0 h 1180"/>
              <a:gd name="T16" fmla="*/ 0 w 2085"/>
              <a:gd name="T17" fmla="*/ 0 h 1180"/>
              <a:gd name="T18" fmla="*/ 0 w 2085"/>
              <a:gd name="T19" fmla="*/ 10 h 1180"/>
              <a:gd name="T20" fmla="*/ 0 w 2085"/>
              <a:gd name="T21" fmla="*/ 1170 h 1180"/>
              <a:gd name="T22" fmla="*/ 0 w 2085"/>
              <a:gd name="T23" fmla="*/ 1180 h 1180"/>
              <a:gd name="T24" fmla="*/ 10 w 2085"/>
              <a:gd name="T25" fmla="*/ 1180 h 1180"/>
              <a:gd name="T26" fmla="*/ 2075 w 2085"/>
              <a:gd name="T27" fmla="*/ 1180 h 1180"/>
              <a:gd name="T28" fmla="*/ 2085 w 2085"/>
              <a:gd name="T29" fmla="*/ 1180 h 1180"/>
              <a:gd name="T30" fmla="*/ 2085 w 2085"/>
              <a:gd name="T31" fmla="*/ 1170 h 1180"/>
              <a:gd name="T32" fmla="*/ 2085 w 2085"/>
              <a:gd name="T33" fmla="*/ 10 h 1180"/>
              <a:gd name="T34" fmla="*/ 2085 w 2085"/>
              <a:gd name="T35" fmla="*/ 0 h 1180"/>
              <a:gd name="T36" fmla="*/ 2085 w 2085"/>
              <a:gd name="T37" fmla="*/ 0 h 1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085" h="1180">
                <a:moveTo>
                  <a:pt x="2075" y="10"/>
                </a:moveTo>
                <a:lnTo>
                  <a:pt x="2075" y="1170"/>
                </a:lnTo>
                <a:lnTo>
                  <a:pt x="10" y="1170"/>
                </a:lnTo>
                <a:lnTo>
                  <a:pt x="10" y="10"/>
                </a:lnTo>
                <a:lnTo>
                  <a:pt x="2075" y="10"/>
                </a:lnTo>
                <a:close/>
                <a:moveTo>
                  <a:pt x="2085" y="0"/>
                </a:moveTo>
                <a:lnTo>
                  <a:pt x="2075" y="0"/>
                </a:lnTo>
                <a:lnTo>
                  <a:pt x="10" y="0"/>
                </a:lnTo>
                <a:lnTo>
                  <a:pt x="0" y="0"/>
                </a:lnTo>
                <a:lnTo>
                  <a:pt x="0" y="10"/>
                </a:lnTo>
                <a:lnTo>
                  <a:pt x="0" y="1170"/>
                </a:lnTo>
                <a:lnTo>
                  <a:pt x="0" y="1180"/>
                </a:lnTo>
                <a:lnTo>
                  <a:pt x="10" y="1180"/>
                </a:lnTo>
                <a:lnTo>
                  <a:pt x="2075" y="1180"/>
                </a:lnTo>
                <a:lnTo>
                  <a:pt x="2085" y="1180"/>
                </a:lnTo>
                <a:lnTo>
                  <a:pt x="2085" y="1170"/>
                </a:lnTo>
                <a:lnTo>
                  <a:pt x="2085" y="10"/>
                </a:lnTo>
                <a:lnTo>
                  <a:pt x="2085" y="0"/>
                </a:lnTo>
                <a:lnTo>
                  <a:pt x="2085" y="0"/>
                </a:lnTo>
                <a:close/>
              </a:path>
            </a:pathLst>
          </a:custGeom>
          <a:solidFill>
            <a:srgbClr val="0C0D11"/>
          </a:solidFill>
          <a:ln>
            <a:noFill/>
          </a:ln>
        </p:spPr>
        <p:txBody>
          <a:bodyPr vert="horz" wrap="square" lIns="45702" tIns="22851" rIns="45702" bIns="22851" numCol="1" anchor="t" anchorCtr="0" compatLnSpc="1"/>
          <a:lstStyle/>
          <a:p>
            <a:endParaRPr lang="id-ID" dirty="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5" name="深度视觉·原创设计 https://www.docer.com/works?userid=22383862"/>
          <p:cNvSpPr>
            <a:spLocks noEditPoints="1"/>
          </p:cNvSpPr>
          <p:nvPr/>
        </p:nvSpPr>
        <p:spPr bwMode="auto">
          <a:xfrm>
            <a:off x="6905939" y="2187104"/>
            <a:ext cx="3929704" cy="2244991"/>
          </a:xfrm>
          <a:custGeom>
            <a:avLst/>
            <a:gdLst>
              <a:gd name="T0" fmla="*/ 2075 w 2085"/>
              <a:gd name="T1" fmla="*/ 10 h 1180"/>
              <a:gd name="T2" fmla="*/ 2075 w 2085"/>
              <a:gd name="T3" fmla="*/ 1170 h 1180"/>
              <a:gd name="T4" fmla="*/ 10 w 2085"/>
              <a:gd name="T5" fmla="*/ 1170 h 1180"/>
              <a:gd name="T6" fmla="*/ 10 w 2085"/>
              <a:gd name="T7" fmla="*/ 10 h 1180"/>
              <a:gd name="T8" fmla="*/ 2075 w 2085"/>
              <a:gd name="T9" fmla="*/ 10 h 1180"/>
              <a:gd name="T10" fmla="*/ 2085 w 2085"/>
              <a:gd name="T11" fmla="*/ 0 h 1180"/>
              <a:gd name="T12" fmla="*/ 2075 w 2085"/>
              <a:gd name="T13" fmla="*/ 0 h 1180"/>
              <a:gd name="T14" fmla="*/ 10 w 2085"/>
              <a:gd name="T15" fmla="*/ 0 h 1180"/>
              <a:gd name="T16" fmla="*/ 0 w 2085"/>
              <a:gd name="T17" fmla="*/ 0 h 1180"/>
              <a:gd name="T18" fmla="*/ 0 w 2085"/>
              <a:gd name="T19" fmla="*/ 10 h 1180"/>
              <a:gd name="T20" fmla="*/ 0 w 2085"/>
              <a:gd name="T21" fmla="*/ 1170 h 1180"/>
              <a:gd name="T22" fmla="*/ 0 w 2085"/>
              <a:gd name="T23" fmla="*/ 1180 h 1180"/>
              <a:gd name="T24" fmla="*/ 10 w 2085"/>
              <a:gd name="T25" fmla="*/ 1180 h 1180"/>
              <a:gd name="T26" fmla="*/ 2075 w 2085"/>
              <a:gd name="T27" fmla="*/ 1180 h 1180"/>
              <a:gd name="T28" fmla="*/ 2085 w 2085"/>
              <a:gd name="T29" fmla="*/ 1180 h 1180"/>
              <a:gd name="T30" fmla="*/ 2085 w 2085"/>
              <a:gd name="T31" fmla="*/ 1170 h 1180"/>
              <a:gd name="T32" fmla="*/ 2085 w 2085"/>
              <a:gd name="T33" fmla="*/ 10 h 1180"/>
              <a:gd name="T34" fmla="*/ 2085 w 2085"/>
              <a:gd name="T35" fmla="*/ 0 h 1180"/>
              <a:gd name="T36" fmla="*/ 2085 w 2085"/>
              <a:gd name="T37" fmla="*/ 0 h 1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085" h="1180">
                <a:moveTo>
                  <a:pt x="2075" y="10"/>
                </a:moveTo>
                <a:lnTo>
                  <a:pt x="2075" y="1170"/>
                </a:lnTo>
                <a:lnTo>
                  <a:pt x="10" y="1170"/>
                </a:lnTo>
                <a:lnTo>
                  <a:pt x="10" y="10"/>
                </a:lnTo>
                <a:lnTo>
                  <a:pt x="2075" y="10"/>
                </a:lnTo>
                <a:moveTo>
                  <a:pt x="2085" y="0"/>
                </a:moveTo>
                <a:lnTo>
                  <a:pt x="2075" y="0"/>
                </a:lnTo>
                <a:lnTo>
                  <a:pt x="10" y="0"/>
                </a:lnTo>
                <a:lnTo>
                  <a:pt x="0" y="0"/>
                </a:lnTo>
                <a:lnTo>
                  <a:pt x="0" y="10"/>
                </a:lnTo>
                <a:lnTo>
                  <a:pt x="0" y="1170"/>
                </a:lnTo>
                <a:lnTo>
                  <a:pt x="0" y="1180"/>
                </a:lnTo>
                <a:lnTo>
                  <a:pt x="10" y="1180"/>
                </a:lnTo>
                <a:lnTo>
                  <a:pt x="2075" y="1180"/>
                </a:lnTo>
                <a:lnTo>
                  <a:pt x="2085" y="1180"/>
                </a:lnTo>
                <a:lnTo>
                  <a:pt x="2085" y="1170"/>
                </a:lnTo>
                <a:lnTo>
                  <a:pt x="2085" y="10"/>
                </a:lnTo>
                <a:lnTo>
                  <a:pt x="2085" y="0"/>
                </a:lnTo>
                <a:lnTo>
                  <a:pt x="2085" y="0"/>
                </a:lnTo>
              </a:path>
            </a:pathLst>
          </a:custGeom>
          <a:noFill/>
          <a:ln>
            <a:noFill/>
          </a:ln>
        </p:spPr>
        <p:txBody>
          <a:bodyPr vert="horz" wrap="square" lIns="45702" tIns="22851" rIns="45702" bIns="22851" numCol="1" anchor="t" anchorCtr="0" compatLnSpc="1"/>
          <a:lstStyle/>
          <a:p>
            <a:endParaRPr lang="id-ID" dirty="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6" name="深度视觉·原创设计 https://www.docer.com/works?userid=22383862"/>
          <p:cNvSpPr>
            <a:spLocks noChangeArrowheads="1"/>
          </p:cNvSpPr>
          <p:nvPr/>
        </p:nvSpPr>
        <p:spPr bwMode="auto">
          <a:xfrm>
            <a:off x="6924786" y="2206130"/>
            <a:ext cx="3892009" cy="2206941"/>
          </a:xfrm>
          <a:prstGeom prst="rect">
            <a:avLst/>
          </a:prstGeom>
          <a:blipFill>
            <a:blip r:embed="rId1"/>
            <a:stretch>
              <a:fillRect t="-82265" b="-82265"/>
            </a:stretch>
          </a:blipFill>
          <a:ln>
            <a:noFill/>
          </a:ln>
        </p:spPr>
        <p:txBody>
          <a:bodyPr vert="horz" wrap="square" lIns="45702" tIns="22851" rIns="45702" bIns="22851" numCol="1" anchor="t" anchorCtr="0" compatLnSpc="1"/>
          <a:lstStyle/>
          <a:p>
            <a:endParaRPr lang="id-ID" dirty="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7" name="深度视觉·原创设计 https://www.docer.com/works?userid=22383862"/>
          <p:cNvSpPr/>
          <p:nvPr/>
        </p:nvSpPr>
        <p:spPr bwMode="auto">
          <a:xfrm>
            <a:off x="8146104" y="5415706"/>
            <a:ext cx="1434295" cy="58979"/>
          </a:xfrm>
          <a:custGeom>
            <a:avLst/>
            <a:gdLst>
              <a:gd name="T0" fmla="*/ 852 w 854"/>
              <a:gd name="T1" fmla="*/ 24 h 35"/>
              <a:gd name="T2" fmla="*/ 478 w 854"/>
              <a:gd name="T3" fmla="*/ 5 h 35"/>
              <a:gd name="T4" fmla="*/ 478 w 854"/>
              <a:gd name="T5" fmla="*/ 0 h 35"/>
              <a:gd name="T6" fmla="*/ 427 w 854"/>
              <a:gd name="T7" fmla="*/ 3 h 35"/>
              <a:gd name="T8" fmla="*/ 375 w 854"/>
              <a:gd name="T9" fmla="*/ 0 h 35"/>
              <a:gd name="T10" fmla="*/ 375 w 854"/>
              <a:gd name="T11" fmla="*/ 5 h 35"/>
              <a:gd name="T12" fmla="*/ 1 w 854"/>
              <a:gd name="T13" fmla="*/ 24 h 35"/>
              <a:gd name="T14" fmla="*/ 24 w 854"/>
              <a:gd name="T15" fmla="*/ 35 h 35"/>
              <a:gd name="T16" fmla="*/ 375 w 854"/>
              <a:gd name="T17" fmla="*/ 35 h 35"/>
              <a:gd name="T18" fmla="*/ 478 w 854"/>
              <a:gd name="T19" fmla="*/ 35 h 35"/>
              <a:gd name="T20" fmla="*/ 829 w 854"/>
              <a:gd name="T21" fmla="*/ 35 h 35"/>
              <a:gd name="T22" fmla="*/ 852 w 854"/>
              <a:gd name="T23" fmla="*/ 24 h 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854" h="35">
                <a:moveTo>
                  <a:pt x="852" y="24"/>
                </a:moveTo>
                <a:cubicBezTo>
                  <a:pt x="478" y="5"/>
                  <a:pt x="478" y="5"/>
                  <a:pt x="478" y="5"/>
                </a:cubicBezTo>
                <a:cubicBezTo>
                  <a:pt x="478" y="0"/>
                  <a:pt x="478" y="0"/>
                  <a:pt x="478" y="0"/>
                </a:cubicBezTo>
                <a:cubicBezTo>
                  <a:pt x="427" y="3"/>
                  <a:pt x="427" y="3"/>
                  <a:pt x="427" y="3"/>
                </a:cubicBezTo>
                <a:cubicBezTo>
                  <a:pt x="375" y="0"/>
                  <a:pt x="375" y="0"/>
                  <a:pt x="375" y="0"/>
                </a:cubicBezTo>
                <a:cubicBezTo>
                  <a:pt x="375" y="5"/>
                  <a:pt x="375" y="5"/>
                  <a:pt x="375" y="5"/>
                </a:cubicBezTo>
                <a:cubicBezTo>
                  <a:pt x="1" y="24"/>
                  <a:pt x="1" y="24"/>
                  <a:pt x="1" y="24"/>
                </a:cubicBezTo>
                <a:cubicBezTo>
                  <a:pt x="1" y="24"/>
                  <a:pt x="0" y="35"/>
                  <a:pt x="24" y="35"/>
                </a:cubicBezTo>
                <a:cubicBezTo>
                  <a:pt x="41" y="35"/>
                  <a:pt x="247" y="35"/>
                  <a:pt x="375" y="35"/>
                </a:cubicBezTo>
                <a:cubicBezTo>
                  <a:pt x="435" y="35"/>
                  <a:pt x="478" y="35"/>
                  <a:pt x="478" y="35"/>
                </a:cubicBezTo>
                <a:cubicBezTo>
                  <a:pt x="606" y="35"/>
                  <a:pt x="812" y="35"/>
                  <a:pt x="829" y="35"/>
                </a:cubicBezTo>
                <a:cubicBezTo>
                  <a:pt x="854" y="35"/>
                  <a:pt x="852" y="24"/>
                  <a:pt x="852" y="24"/>
                </a:cubicBezTo>
                <a:close/>
              </a:path>
            </a:pathLst>
          </a:custGeom>
          <a:solidFill>
            <a:srgbClr val="181818"/>
          </a:solidFill>
          <a:ln>
            <a:noFill/>
          </a:ln>
        </p:spPr>
        <p:txBody>
          <a:bodyPr vert="horz" wrap="square" lIns="45702" tIns="22851" rIns="45702" bIns="22851" numCol="1" anchor="t" anchorCtr="0" compatLnSpc="1"/>
          <a:lstStyle/>
          <a:p>
            <a:endParaRPr lang="id-ID" dirty="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8" name="深度视觉·原创设计 https://www.docer.com/works?userid=22383862"/>
          <p:cNvSpPr/>
          <p:nvPr/>
        </p:nvSpPr>
        <p:spPr bwMode="auto">
          <a:xfrm>
            <a:off x="8138565" y="4961001"/>
            <a:ext cx="1447488" cy="500367"/>
          </a:xfrm>
          <a:custGeom>
            <a:avLst/>
            <a:gdLst>
              <a:gd name="T0" fmla="*/ 790 w 861"/>
              <a:gd name="T1" fmla="*/ 274 h 295"/>
              <a:gd name="T2" fmla="*/ 738 w 861"/>
              <a:gd name="T3" fmla="*/ 224 h 295"/>
              <a:gd name="T4" fmla="*/ 714 w 861"/>
              <a:gd name="T5" fmla="*/ 0 h 295"/>
              <a:gd name="T6" fmla="*/ 431 w 861"/>
              <a:gd name="T7" fmla="*/ 4 h 295"/>
              <a:gd name="T8" fmla="*/ 147 w 861"/>
              <a:gd name="T9" fmla="*/ 0 h 295"/>
              <a:gd name="T10" fmla="*/ 124 w 861"/>
              <a:gd name="T11" fmla="*/ 224 h 295"/>
              <a:gd name="T12" fmla="*/ 72 w 861"/>
              <a:gd name="T13" fmla="*/ 274 h 295"/>
              <a:gd name="T14" fmla="*/ 0 w 861"/>
              <a:gd name="T15" fmla="*/ 291 h 295"/>
              <a:gd name="T16" fmla="*/ 0 w 861"/>
              <a:gd name="T17" fmla="*/ 295 h 295"/>
              <a:gd name="T18" fmla="*/ 379 w 861"/>
              <a:gd name="T19" fmla="*/ 295 h 295"/>
              <a:gd name="T20" fmla="*/ 482 w 861"/>
              <a:gd name="T21" fmla="*/ 295 h 295"/>
              <a:gd name="T22" fmla="*/ 861 w 861"/>
              <a:gd name="T23" fmla="*/ 295 h 295"/>
              <a:gd name="T24" fmla="*/ 861 w 861"/>
              <a:gd name="T25" fmla="*/ 291 h 295"/>
              <a:gd name="T26" fmla="*/ 790 w 861"/>
              <a:gd name="T27" fmla="*/ 274 h 2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861" h="295">
                <a:moveTo>
                  <a:pt x="790" y="274"/>
                </a:moveTo>
                <a:cubicBezTo>
                  <a:pt x="760" y="268"/>
                  <a:pt x="744" y="271"/>
                  <a:pt x="738" y="224"/>
                </a:cubicBezTo>
                <a:cubicBezTo>
                  <a:pt x="731" y="177"/>
                  <a:pt x="714" y="0"/>
                  <a:pt x="714" y="0"/>
                </a:cubicBezTo>
                <a:cubicBezTo>
                  <a:pt x="431" y="4"/>
                  <a:pt x="431" y="4"/>
                  <a:pt x="431" y="4"/>
                </a:cubicBezTo>
                <a:cubicBezTo>
                  <a:pt x="147" y="0"/>
                  <a:pt x="147" y="0"/>
                  <a:pt x="147" y="0"/>
                </a:cubicBezTo>
                <a:cubicBezTo>
                  <a:pt x="147" y="0"/>
                  <a:pt x="130" y="177"/>
                  <a:pt x="124" y="224"/>
                </a:cubicBezTo>
                <a:cubicBezTo>
                  <a:pt x="117" y="271"/>
                  <a:pt x="102" y="268"/>
                  <a:pt x="72" y="274"/>
                </a:cubicBezTo>
                <a:cubicBezTo>
                  <a:pt x="42" y="280"/>
                  <a:pt x="0" y="287"/>
                  <a:pt x="0" y="291"/>
                </a:cubicBezTo>
                <a:cubicBezTo>
                  <a:pt x="0" y="295"/>
                  <a:pt x="0" y="295"/>
                  <a:pt x="0" y="295"/>
                </a:cubicBezTo>
                <a:cubicBezTo>
                  <a:pt x="379" y="295"/>
                  <a:pt x="379" y="295"/>
                  <a:pt x="379" y="295"/>
                </a:cubicBezTo>
                <a:cubicBezTo>
                  <a:pt x="482" y="295"/>
                  <a:pt x="482" y="295"/>
                  <a:pt x="482" y="295"/>
                </a:cubicBezTo>
                <a:cubicBezTo>
                  <a:pt x="861" y="295"/>
                  <a:pt x="861" y="295"/>
                  <a:pt x="861" y="295"/>
                </a:cubicBezTo>
                <a:cubicBezTo>
                  <a:pt x="861" y="295"/>
                  <a:pt x="861" y="295"/>
                  <a:pt x="861" y="291"/>
                </a:cubicBezTo>
                <a:cubicBezTo>
                  <a:pt x="861" y="287"/>
                  <a:pt x="820" y="280"/>
                  <a:pt x="790" y="274"/>
                </a:cubicBezTo>
                <a:close/>
              </a:path>
            </a:pathLst>
          </a:custGeom>
          <a:solidFill>
            <a:srgbClr val="D2D3D5"/>
          </a:solidFill>
          <a:ln>
            <a:noFill/>
          </a:ln>
        </p:spPr>
        <p:txBody>
          <a:bodyPr vert="horz" wrap="square" lIns="45702" tIns="22851" rIns="45702" bIns="22851" numCol="1" anchor="t" anchorCtr="0" compatLnSpc="1"/>
          <a:lstStyle/>
          <a:p>
            <a:endParaRPr lang="id-ID" dirty="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9" name="深度视觉·原创设计 https://www.docer.com/works?userid=22383862"/>
          <p:cNvSpPr>
            <a:spLocks noChangeArrowheads="1"/>
          </p:cNvSpPr>
          <p:nvPr/>
        </p:nvSpPr>
        <p:spPr bwMode="auto">
          <a:xfrm>
            <a:off x="8841578" y="2082464"/>
            <a:ext cx="58428" cy="58979"/>
          </a:xfrm>
          <a:prstGeom prst="ellipse">
            <a:avLst/>
          </a:prstGeom>
          <a:solidFill>
            <a:srgbClr val="2C2C2C"/>
          </a:solidFill>
          <a:ln>
            <a:noFill/>
          </a:ln>
        </p:spPr>
        <p:txBody>
          <a:bodyPr vert="horz" wrap="square" lIns="45702" tIns="22851" rIns="45702" bIns="22851" numCol="1" anchor="t" anchorCtr="0" compatLnSpc="1"/>
          <a:lstStyle/>
          <a:p>
            <a:endParaRPr lang="id-ID" dirty="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10" name="深度视觉·原创设计 https://www.docer.com/works?userid=22383862"/>
          <p:cNvSpPr>
            <a:spLocks noChangeArrowheads="1"/>
          </p:cNvSpPr>
          <p:nvPr/>
        </p:nvSpPr>
        <p:spPr bwMode="auto">
          <a:xfrm>
            <a:off x="8841578" y="2078659"/>
            <a:ext cx="58428" cy="58979"/>
          </a:xfrm>
          <a:prstGeom prst="ellipse">
            <a:avLst/>
          </a:prstGeom>
          <a:solidFill>
            <a:srgbClr val="0A0A0A"/>
          </a:solidFill>
          <a:ln>
            <a:noFill/>
          </a:ln>
        </p:spPr>
        <p:txBody>
          <a:bodyPr vert="horz" wrap="square" lIns="45702" tIns="22851" rIns="45702" bIns="22851" numCol="1" anchor="t" anchorCtr="0" compatLnSpc="1"/>
          <a:lstStyle/>
          <a:p>
            <a:endParaRPr lang="id-ID" dirty="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11" name="深度视觉·原创设计 https://www.docer.com/works?userid=22383862"/>
          <p:cNvSpPr>
            <a:spLocks noChangeArrowheads="1"/>
          </p:cNvSpPr>
          <p:nvPr/>
        </p:nvSpPr>
        <p:spPr bwMode="auto">
          <a:xfrm>
            <a:off x="8851001" y="2088173"/>
            <a:ext cx="39580" cy="38051"/>
          </a:xfrm>
          <a:prstGeom prst="ellipse">
            <a:avLst/>
          </a:prstGeom>
          <a:solidFill>
            <a:srgbClr val="000000"/>
          </a:solidFill>
          <a:ln>
            <a:noFill/>
          </a:ln>
        </p:spPr>
        <p:txBody>
          <a:bodyPr vert="horz" wrap="square" lIns="45702" tIns="22851" rIns="45702" bIns="22851" numCol="1" anchor="t" anchorCtr="0" compatLnSpc="1"/>
          <a:lstStyle/>
          <a:p>
            <a:endParaRPr lang="id-ID" dirty="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12" name="深度视觉·原创设计 https://www.docer.com/works?userid=22383862"/>
          <p:cNvSpPr>
            <a:spLocks noChangeArrowheads="1"/>
          </p:cNvSpPr>
          <p:nvPr/>
        </p:nvSpPr>
        <p:spPr bwMode="auto">
          <a:xfrm>
            <a:off x="8862309" y="2095783"/>
            <a:ext cx="18847" cy="22830"/>
          </a:xfrm>
          <a:prstGeom prst="ellipse">
            <a:avLst/>
          </a:prstGeom>
          <a:solidFill>
            <a:srgbClr val="2C99B4"/>
          </a:solidFill>
          <a:ln>
            <a:noFill/>
          </a:ln>
        </p:spPr>
        <p:txBody>
          <a:bodyPr vert="horz" wrap="square" lIns="45702" tIns="22851" rIns="45702" bIns="22851" numCol="1" anchor="t" anchorCtr="0" compatLnSpc="1"/>
          <a:lstStyle/>
          <a:p>
            <a:endParaRPr lang="id-ID" dirty="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13" name="深度视觉·原创设计 https://www.docer.com/works?userid=22383862"/>
          <p:cNvSpPr>
            <a:spLocks noChangeArrowheads="1"/>
          </p:cNvSpPr>
          <p:nvPr/>
        </p:nvSpPr>
        <p:spPr bwMode="auto">
          <a:xfrm>
            <a:off x="8867964" y="2105295"/>
            <a:ext cx="5655" cy="5708"/>
          </a:xfrm>
          <a:prstGeom prst="ellipse">
            <a:avLst/>
          </a:prstGeom>
          <a:solidFill>
            <a:srgbClr val="FFFFFF"/>
          </a:solidFill>
          <a:ln>
            <a:noFill/>
          </a:ln>
        </p:spPr>
        <p:txBody>
          <a:bodyPr vert="horz" wrap="square" lIns="45702" tIns="22851" rIns="45702" bIns="22851" numCol="1" anchor="t" anchorCtr="0" compatLnSpc="1"/>
          <a:lstStyle/>
          <a:p>
            <a:endParaRPr lang="id-ID" dirty="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14" name="深度视觉·原创设计 https://www.docer.com/works?userid=22383862"/>
          <p:cNvSpPr/>
          <p:nvPr/>
        </p:nvSpPr>
        <p:spPr bwMode="auto">
          <a:xfrm>
            <a:off x="8138565" y="4961001"/>
            <a:ext cx="1170430" cy="500367"/>
          </a:xfrm>
          <a:custGeom>
            <a:avLst/>
            <a:gdLst>
              <a:gd name="T0" fmla="*/ 696 w 696"/>
              <a:gd name="T1" fmla="*/ 10 h 295"/>
              <a:gd name="T2" fmla="*/ 573 w 696"/>
              <a:gd name="T3" fmla="*/ 2 h 295"/>
              <a:gd name="T4" fmla="*/ 431 w 696"/>
              <a:gd name="T5" fmla="*/ 4 h 295"/>
              <a:gd name="T6" fmla="*/ 147 w 696"/>
              <a:gd name="T7" fmla="*/ 0 h 295"/>
              <a:gd name="T8" fmla="*/ 124 w 696"/>
              <a:gd name="T9" fmla="*/ 224 h 295"/>
              <a:gd name="T10" fmla="*/ 72 w 696"/>
              <a:gd name="T11" fmla="*/ 274 h 295"/>
              <a:gd name="T12" fmla="*/ 0 w 696"/>
              <a:gd name="T13" fmla="*/ 291 h 295"/>
              <a:gd name="T14" fmla="*/ 0 w 696"/>
              <a:gd name="T15" fmla="*/ 295 h 295"/>
              <a:gd name="T16" fmla="*/ 379 w 696"/>
              <a:gd name="T17" fmla="*/ 295 h 295"/>
              <a:gd name="T18" fmla="*/ 432 w 696"/>
              <a:gd name="T19" fmla="*/ 295 h 295"/>
              <a:gd name="T20" fmla="*/ 696 w 696"/>
              <a:gd name="T21" fmla="*/ 10 h 2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696" h="295">
                <a:moveTo>
                  <a:pt x="696" y="10"/>
                </a:moveTo>
                <a:cubicBezTo>
                  <a:pt x="573" y="2"/>
                  <a:pt x="573" y="2"/>
                  <a:pt x="573" y="2"/>
                </a:cubicBezTo>
                <a:cubicBezTo>
                  <a:pt x="431" y="4"/>
                  <a:pt x="431" y="4"/>
                  <a:pt x="431" y="4"/>
                </a:cubicBezTo>
                <a:cubicBezTo>
                  <a:pt x="147" y="0"/>
                  <a:pt x="147" y="0"/>
                  <a:pt x="147" y="0"/>
                </a:cubicBezTo>
                <a:cubicBezTo>
                  <a:pt x="147" y="0"/>
                  <a:pt x="130" y="177"/>
                  <a:pt x="124" y="224"/>
                </a:cubicBezTo>
                <a:cubicBezTo>
                  <a:pt x="117" y="271"/>
                  <a:pt x="102" y="268"/>
                  <a:pt x="72" y="274"/>
                </a:cubicBezTo>
                <a:cubicBezTo>
                  <a:pt x="42" y="280"/>
                  <a:pt x="0" y="287"/>
                  <a:pt x="0" y="291"/>
                </a:cubicBezTo>
                <a:cubicBezTo>
                  <a:pt x="0" y="295"/>
                  <a:pt x="0" y="295"/>
                  <a:pt x="0" y="295"/>
                </a:cubicBezTo>
                <a:cubicBezTo>
                  <a:pt x="379" y="295"/>
                  <a:pt x="379" y="295"/>
                  <a:pt x="379" y="295"/>
                </a:cubicBezTo>
                <a:cubicBezTo>
                  <a:pt x="432" y="295"/>
                  <a:pt x="432" y="295"/>
                  <a:pt x="432" y="295"/>
                </a:cubicBezTo>
                <a:lnTo>
                  <a:pt x="696" y="10"/>
                </a:lnTo>
                <a:close/>
              </a:path>
            </a:pathLst>
          </a:custGeom>
          <a:solidFill>
            <a:srgbClr val="A8A9AA"/>
          </a:solidFill>
          <a:ln>
            <a:noFill/>
          </a:ln>
        </p:spPr>
        <p:txBody>
          <a:bodyPr vert="horz" wrap="square" lIns="45702" tIns="22851" rIns="45702" bIns="22851" numCol="1" anchor="t" anchorCtr="0" compatLnSpc="1"/>
          <a:lstStyle/>
          <a:p>
            <a:endParaRPr lang="id-ID" dirty="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15" name="深度视觉·原创设计 https://www.docer.com/works?userid=22383862"/>
          <p:cNvSpPr/>
          <p:nvPr/>
        </p:nvSpPr>
        <p:spPr bwMode="auto">
          <a:xfrm>
            <a:off x="6740081" y="4610934"/>
            <a:ext cx="4261420" cy="409046"/>
          </a:xfrm>
          <a:custGeom>
            <a:avLst/>
            <a:gdLst>
              <a:gd name="T0" fmla="*/ 0 w 2537"/>
              <a:gd name="T1" fmla="*/ 0 h 241"/>
              <a:gd name="T2" fmla="*/ 0 w 2537"/>
              <a:gd name="T3" fmla="*/ 170 h 241"/>
              <a:gd name="T4" fmla="*/ 71 w 2537"/>
              <a:gd name="T5" fmla="*/ 241 h 241"/>
              <a:gd name="T6" fmla="*/ 2467 w 2537"/>
              <a:gd name="T7" fmla="*/ 241 h 241"/>
              <a:gd name="T8" fmla="*/ 2537 w 2537"/>
              <a:gd name="T9" fmla="*/ 170 h 241"/>
              <a:gd name="T10" fmla="*/ 2537 w 2537"/>
              <a:gd name="T11" fmla="*/ 0 h 241"/>
              <a:gd name="T12" fmla="*/ 0 w 2537"/>
              <a:gd name="T13" fmla="*/ 0 h 2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537" h="241">
                <a:moveTo>
                  <a:pt x="0" y="0"/>
                </a:moveTo>
                <a:cubicBezTo>
                  <a:pt x="0" y="170"/>
                  <a:pt x="0" y="170"/>
                  <a:pt x="0" y="170"/>
                </a:cubicBezTo>
                <a:cubicBezTo>
                  <a:pt x="0" y="209"/>
                  <a:pt x="32" y="241"/>
                  <a:pt x="71" y="241"/>
                </a:cubicBezTo>
                <a:cubicBezTo>
                  <a:pt x="2467" y="241"/>
                  <a:pt x="2467" y="241"/>
                  <a:pt x="2467" y="241"/>
                </a:cubicBezTo>
                <a:cubicBezTo>
                  <a:pt x="2506" y="241"/>
                  <a:pt x="2537" y="209"/>
                  <a:pt x="2537" y="170"/>
                </a:cubicBezTo>
                <a:cubicBezTo>
                  <a:pt x="2537" y="0"/>
                  <a:pt x="2537" y="0"/>
                  <a:pt x="2537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D2D3D5"/>
          </a:solidFill>
          <a:ln>
            <a:noFill/>
          </a:ln>
        </p:spPr>
        <p:txBody>
          <a:bodyPr vert="horz" wrap="square" lIns="45702" tIns="22851" rIns="45702" bIns="22851" numCol="1" anchor="t" anchorCtr="0" compatLnSpc="1"/>
          <a:lstStyle/>
          <a:p>
            <a:endParaRPr lang="id-ID" dirty="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17" name="深度视觉·原创设计 https://www.docer.com/works?userid=22383862"/>
          <p:cNvSpPr/>
          <p:nvPr/>
        </p:nvSpPr>
        <p:spPr bwMode="auto">
          <a:xfrm>
            <a:off x="1164471" y="2010168"/>
            <a:ext cx="4261420" cy="2600766"/>
          </a:xfrm>
          <a:custGeom>
            <a:avLst/>
            <a:gdLst>
              <a:gd name="T0" fmla="*/ 2537 w 2537"/>
              <a:gd name="T1" fmla="*/ 1533 h 1533"/>
              <a:gd name="T2" fmla="*/ 2537 w 2537"/>
              <a:gd name="T3" fmla="*/ 71 h 1533"/>
              <a:gd name="T4" fmla="*/ 2467 w 2537"/>
              <a:gd name="T5" fmla="*/ 0 h 1533"/>
              <a:gd name="T6" fmla="*/ 71 w 2537"/>
              <a:gd name="T7" fmla="*/ 0 h 1533"/>
              <a:gd name="T8" fmla="*/ 0 w 2537"/>
              <a:gd name="T9" fmla="*/ 71 h 1533"/>
              <a:gd name="T10" fmla="*/ 0 w 2537"/>
              <a:gd name="T11" fmla="*/ 1533 h 1533"/>
              <a:gd name="T12" fmla="*/ 2537 w 2537"/>
              <a:gd name="T13" fmla="*/ 1533 h 15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537" h="1533">
                <a:moveTo>
                  <a:pt x="2537" y="1533"/>
                </a:moveTo>
                <a:cubicBezTo>
                  <a:pt x="2537" y="71"/>
                  <a:pt x="2537" y="71"/>
                  <a:pt x="2537" y="71"/>
                </a:cubicBezTo>
                <a:cubicBezTo>
                  <a:pt x="2537" y="32"/>
                  <a:pt x="2506" y="0"/>
                  <a:pt x="2467" y="0"/>
                </a:cubicBezTo>
                <a:cubicBezTo>
                  <a:pt x="71" y="0"/>
                  <a:pt x="71" y="0"/>
                  <a:pt x="71" y="0"/>
                </a:cubicBezTo>
                <a:cubicBezTo>
                  <a:pt x="32" y="0"/>
                  <a:pt x="0" y="32"/>
                  <a:pt x="0" y="71"/>
                </a:cubicBezTo>
                <a:cubicBezTo>
                  <a:pt x="0" y="1533"/>
                  <a:pt x="0" y="1533"/>
                  <a:pt x="0" y="1533"/>
                </a:cubicBezTo>
                <a:lnTo>
                  <a:pt x="2537" y="1533"/>
                </a:lnTo>
                <a:close/>
              </a:path>
            </a:pathLst>
          </a:custGeom>
          <a:solidFill>
            <a:srgbClr val="181818"/>
          </a:solidFill>
          <a:ln>
            <a:noFill/>
          </a:ln>
        </p:spPr>
        <p:txBody>
          <a:bodyPr vert="horz" wrap="square" lIns="45702" tIns="22851" rIns="45702" bIns="22851" numCol="1" anchor="t" anchorCtr="0" compatLnSpc="1"/>
          <a:lstStyle/>
          <a:p>
            <a:endParaRPr lang="id-ID" dirty="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18" name="深度视觉·原创设计 https://www.docer.com/works?userid=22383862"/>
          <p:cNvSpPr>
            <a:spLocks noEditPoints="1"/>
          </p:cNvSpPr>
          <p:nvPr/>
        </p:nvSpPr>
        <p:spPr bwMode="auto">
          <a:xfrm>
            <a:off x="1330329" y="2187104"/>
            <a:ext cx="3929704" cy="2244991"/>
          </a:xfrm>
          <a:custGeom>
            <a:avLst/>
            <a:gdLst>
              <a:gd name="T0" fmla="*/ 2075 w 2085"/>
              <a:gd name="T1" fmla="*/ 10 h 1180"/>
              <a:gd name="T2" fmla="*/ 2075 w 2085"/>
              <a:gd name="T3" fmla="*/ 1170 h 1180"/>
              <a:gd name="T4" fmla="*/ 10 w 2085"/>
              <a:gd name="T5" fmla="*/ 1170 h 1180"/>
              <a:gd name="T6" fmla="*/ 10 w 2085"/>
              <a:gd name="T7" fmla="*/ 10 h 1180"/>
              <a:gd name="T8" fmla="*/ 2075 w 2085"/>
              <a:gd name="T9" fmla="*/ 10 h 1180"/>
              <a:gd name="T10" fmla="*/ 2085 w 2085"/>
              <a:gd name="T11" fmla="*/ 0 h 1180"/>
              <a:gd name="T12" fmla="*/ 2075 w 2085"/>
              <a:gd name="T13" fmla="*/ 0 h 1180"/>
              <a:gd name="T14" fmla="*/ 10 w 2085"/>
              <a:gd name="T15" fmla="*/ 0 h 1180"/>
              <a:gd name="T16" fmla="*/ 0 w 2085"/>
              <a:gd name="T17" fmla="*/ 0 h 1180"/>
              <a:gd name="T18" fmla="*/ 0 w 2085"/>
              <a:gd name="T19" fmla="*/ 10 h 1180"/>
              <a:gd name="T20" fmla="*/ 0 w 2085"/>
              <a:gd name="T21" fmla="*/ 1170 h 1180"/>
              <a:gd name="T22" fmla="*/ 0 w 2085"/>
              <a:gd name="T23" fmla="*/ 1180 h 1180"/>
              <a:gd name="T24" fmla="*/ 10 w 2085"/>
              <a:gd name="T25" fmla="*/ 1180 h 1180"/>
              <a:gd name="T26" fmla="*/ 2075 w 2085"/>
              <a:gd name="T27" fmla="*/ 1180 h 1180"/>
              <a:gd name="T28" fmla="*/ 2085 w 2085"/>
              <a:gd name="T29" fmla="*/ 1180 h 1180"/>
              <a:gd name="T30" fmla="*/ 2085 w 2085"/>
              <a:gd name="T31" fmla="*/ 1170 h 1180"/>
              <a:gd name="T32" fmla="*/ 2085 w 2085"/>
              <a:gd name="T33" fmla="*/ 10 h 1180"/>
              <a:gd name="T34" fmla="*/ 2085 w 2085"/>
              <a:gd name="T35" fmla="*/ 0 h 1180"/>
              <a:gd name="T36" fmla="*/ 2085 w 2085"/>
              <a:gd name="T37" fmla="*/ 0 h 1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085" h="1180">
                <a:moveTo>
                  <a:pt x="2075" y="10"/>
                </a:moveTo>
                <a:lnTo>
                  <a:pt x="2075" y="1170"/>
                </a:lnTo>
                <a:lnTo>
                  <a:pt x="10" y="1170"/>
                </a:lnTo>
                <a:lnTo>
                  <a:pt x="10" y="10"/>
                </a:lnTo>
                <a:lnTo>
                  <a:pt x="2075" y="10"/>
                </a:lnTo>
                <a:close/>
                <a:moveTo>
                  <a:pt x="2085" y="0"/>
                </a:moveTo>
                <a:lnTo>
                  <a:pt x="2075" y="0"/>
                </a:lnTo>
                <a:lnTo>
                  <a:pt x="10" y="0"/>
                </a:lnTo>
                <a:lnTo>
                  <a:pt x="0" y="0"/>
                </a:lnTo>
                <a:lnTo>
                  <a:pt x="0" y="10"/>
                </a:lnTo>
                <a:lnTo>
                  <a:pt x="0" y="1170"/>
                </a:lnTo>
                <a:lnTo>
                  <a:pt x="0" y="1180"/>
                </a:lnTo>
                <a:lnTo>
                  <a:pt x="10" y="1180"/>
                </a:lnTo>
                <a:lnTo>
                  <a:pt x="2075" y="1180"/>
                </a:lnTo>
                <a:lnTo>
                  <a:pt x="2085" y="1180"/>
                </a:lnTo>
                <a:lnTo>
                  <a:pt x="2085" y="1170"/>
                </a:lnTo>
                <a:lnTo>
                  <a:pt x="2085" y="10"/>
                </a:lnTo>
                <a:lnTo>
                  <a:pt x="2085" y="0"/>
                </a:lnTo>
                <a:lnTo>
                  <a:pt x="2085" y="0"/>
                </a:lnTo>
                <a:close/>
              </a:path>
            </a:pathLst>
          </a:custGeom>
          <a:solidFill>
            <a:srgbClr val="0C0D11"/>
          </a:solidFill>
          <a:ln>
            <a:noFill/>
          </a:ln>
        </p:spPr>
        <p:txBody>
          <a:bodyPr vert="horz" wrap="square" lIns="45702" tIns="22851" rIns="45702" bIns="22851" numCol="1" anchor="t" anchorCtr="0" compatLnSpc="1"/>
          <a:lstStyle/>
          <a:p>
            <a:endParaRPr lang="id-ID" dirty="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19" name="深度视觉·原创设计 https://www.docer.com/works?userid=22383862"/>
          <p:cNvSpPr>
            <a:spLocks noEditPoints="1"/>
          </p:cNvSpPr>
          <p:nvPr/>
        </p:nvSpPr>
        <p:spPr bwMode="auto">
          <a:xfrm>
            <a:off x="1330329" y="2187104"/>
            <a:ext cx="3929704" cy="2244991"/>
          </a:xfrm>
          <a:custGeom>
            <a:avLst/>
            <a:gdLst>
              <a:gd name="T0" fmla="*/ 2075 w 2085"/>
              <a:gd name="T1" fmla="*/ 10 h 1180"/>
              <a:gd name="T2" fmla="*/ 2075 w 2085"/>
              <a:gd name="T3" fmla="*/ 1170 h 1180"/>
              <a:gd name="T4" fmla="*/ 10 w 2085"/>
              <a:gd name="T5" fmla="*/ 1170 h 1180"/>
              <a:gd name="T6" fmla="*/ 10 w 2085"/>
              <a:gd name="T7" fmla="*/ 10 h 1180"/>
              <a:gd name="T8" fmla="*/ 2075 w 2085"/>
              <a:gd name="T9" fmla="*/ 10 h 1180"/>
              <a:gd name="T10" fmla="*/ 2085 w 2085"/>
              <a:gd name="T11" fmla="*/ 0 h 1180"/>
              <a:gd name="T12" fmla="*/ 2075 w 2085"/>
              <a:gd name="T13" fmla="*/ 0 h 1180"/>
              <a:gd name="T14" fmla="*/ 10 w 2085"/>
              <a:gd name="T15" fmla="*/ 0 h 1180"/>
              <a:gd name="T16" fmla="*/ 0 w 2085"/>
              <a:gd name="T17" fmla="*/ 0 h 1180"/>
              <a:gd name="T18" fmla="*/ 0 w 2085"/>
              <a:gd name="T19" fmla="*/ 10 h 1180"/>
              <a:gd name="T20" fmla="*/ 0 w 2085"/>
              <a:gd name="T21" fmla="*/ 1170 h 1180"/>
              <a:gd name="T22" fmla="*/ 0 w 2085"/>
              <a:gd name="T23" fmla="*/ 1180 h 1180"/>
              <a:gd name="T24" fmla="*/ 10 w 2085"/>
              <a:gd name="T25" fmla="*/ 1180 h 1180"/>
              <a:gd name="T26" fmla="*/ 2075 w 2085"/>
              <a:gd name="T27" fmla="*/ 1180 h 1180"/>
              <a:gd name="T28" fmla="*/ 2085 w 2085"/>
              <a:gd name="T29" fmla="*/ 1180 h 1180"/>
              <a:gd name="T30" fmla="*/ 2085 w 2085"/>
              <a:gd name="T31" fmla="*/ 1170 h 1180"/>
              <a:gd name="T32" fmla="*/ 2085 w 2085"/>
              <a:gd name="T33" fmla="*/ 10 h 1180"/>
              <a:gd name="T34" fmla="*/ 2085 w 2085"/>
              <a:gd name="T35" fmla="*/ 0 h 1180"/>
              <a:gd name="T36" fmla="*/ 2085 w 2085"/>
              <a:gd name="T37" fmla="*/ 0 h 1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085" h="1180">
                <a:moveTo>
                  <a:pt x="2075" y="10"/>
                </a:moveTo>
                <a:lnTo>
                  <a:pt x="2075" y="1170"/>
                </a:lnTo>
                <a:lnTo>
                  <a:pt x="10" y="1170"/>
                </a:lnTo>
                <a:lnTo>
                  <a:pt x="10" y="10"/>
                </a:lnTo>
                <a:lnTo>
                  <a:pt x="2075" y="10"/>
                </a:lnTo>
                <a:moveTo>
                  <a:pt x="2085" y="0"/>
                </a:moveTo>
                <a:lnTo>
                  <a:pt x="2075" y="0"/>
                </a:lnTo>
                <a:lnTo>
                  <a:pt x="10" y="0"/>
                </a:lnTo>
                <a:lnTo>
                  <a:pt x="0" y="0"/>
                </a:lnTo>
                <a:lnTo>
                  <a:pt x="0" y="10"/>
                </a:lnTo>
                <a:lnTo>
                  <a:pt x="0" y="1170"/>
                </a:lnTo>
                <a:lnTo>
                  <a:pt x="0" y="1180"/>
                </a:lnTo>
                <a:lnTo>
                  <a:pt x="10" y="1180"/>
                </a:lnTo>
                <a:lnTo>
                  <a:pt x="2075" y="1180"/>
                </a:lnTo>
                <a:lnTo>
                  <a:pt x="2085" y="1180"/>
                </a:lnTo>
                <a:lnTo>
                  <a:pt x="2085" y="1170"/>
                </a:lnTo>
                <a:lnTo>
                  <a:pt x="2085" y="10"/>
                </a:lnTo>
                <a:lnTo>
                  <a:pt x="2085" y="0"/>
                </a:lnTo>
                <a:lnTo>
                  <a:pt x="2085" y="0"/>
                </a:lnTo>
              </a:path>
            </a:pathLst>
          </a:custGeom>
          <a:noFill/>
          <a:ln>
            <a:noFill/>
          </a:ln>
        </p:spPr>
        <p:txBody>
          <a:bodyPr vert="horz" wrap="square" lIns="45702" tIns="22851" rIns="45702" bIns="22851" numCol="1" anchor="t" anchorCtr="0" compatLnSpc="1"/>
          <a:lstStyle/>
          <a:p>
            <a:endParaRPr lang="id-ID" dirty="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20" name="深度视觉·原创设计 https://www.docer.com/works?userid=22383862"/>
          <p:cNvSpPr>
            <a:spLocks noChangeArrowheads="1"/>
          </p:cNvSpPr>
          <p:nvPr/>
        </p:nvSpPr>
        <p:spPr bwMode="auto">
          <a:xfrm>
            <a:off x="1349176" y="2206130"/>
            <a:ext cx="3892009" cy="2206941"/>
          </a:xfrm>
          <a:prstGeom prst="rect">
            <a:avLst/>
          </a:prstGeom>
          <a:blipFill>
            <a:blip r:embed="rId2"/>
            <a:stretch>
              <a:fillRect t="-67540" b="-67540"/>
            </a:stretch>
          </a:blipFill>
          <a:ln>
            <a:noFill/>
          </a:ln>
        </p:spPr>
        <p:txBody>
          <a:bodyPr vert="horz" wrap="square" lIns="45702" tIns="22851" rIns="45702" bIns="22851" numCol="1" anchor="t" anchorCtr="0" compatLnSpc="1"/>
          <a:lstStyle/>
          <a:p>
            <a:endParaRPr lang="id-ID" dirty="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21" name="深度视觉·原创设计 https://www.docer.com/works?userid=22383862"/>
          <p:cNvSpPr/>
          <p:nvPr/>
        </p:nvSpPr>
        <p:spPr bwMode="auto">
          <a:xfrm>
            <a:off x="2570494" y="5415706"/>
            <a:ext cx="1434295" cy="58979"/>
          </a:xfrm>
          <a:custGeom>
            <a:avLst/>
            <a:gdLst>
              <a:gd name="T0" fmla="*/ 852 w 854"/>
              <a:gd name="T1" fmla="*/ 24 h 35"/>
              <a:gd name="T2" fmla="*/ 478 w 854"/>
              <a:gd name="T3" fmla="*/ 5 h 35"/>
              <a:gd name="T4" fmla="*/ 478 w 854"/>
              <a:gd name="T5" fmla="*/ 0 h 35"/>
              <a:gd name="T6" fmla="*/ 427 w 854"/>
              <a:gd name="T7" fmla="*/ 3 h 35"/>
              <a:gd name="T8" fmla="*/ 375 w 854"/>
              <a:gd name="T9" fmla="*/ 0 h 35"/>
              <a:gd name="T10" fmla="*/ 375 w 854"/>
              <a:gd name="T11" fmla="*/ 5 h 35"/>
              <a:gd name="T12" fmla="*/ 1 w 854"/>
              <a:gd name="T13" fmla="*/ 24 h 35"/>
              <a:gd name="T14" fmla="*/ 24 w 854"/>
              <a:gd name="T15" fmla="*/ 35 h 35"/>
              <a:gd name="T16" fmla="*/ 375 w 854"/>
              <a:gd name="T17" fmla="*/ 35 h 35"/>
              <a:gd name="T18" fmla="*/ 478 w 854"/>
              <a:gd name="T19" fmla="*/ 35 h 35"/>
              <a:gd name="T20" fmla="*/ 829 w 854"/>
              <a:gd name="T21" fmla="*/ 35 h 35"/>
              <a:gd name="T22" fmla="*/ 852 w 854"/>
              <a:gd name="T23" fmla="*/ 24 h 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854" h="35">
                <a:moveTo>
                  <a:pt x="852" y="24"/>
                </a:moveTo>
                <a:cubicBezTo>
                  <a:pt x="478" y="5"/>
                  <a:pt x="478" y="5"/>
                  <a:pt x="478" y="5"/>
                </a:cubicBezTo>
                <a:cubicBezTo>
                  <a:pt x="478" y="0"/>
                  <a:pt x="478" y="0"/>
                  <a:pt x="478" y="0"/>
                </a:cubicBezTo>
                <a:cubicBezTo>
                  <a:pt x="427" y="3"/>
                  <a:pt x="427" y="3"/>
                  <a:pt x="427" y="3"/>
                </a:cubicBezTo>
                <a:cubicBezTo>
                  <a:pt x="375" y="0"/>
                  <a:pt x="375" y="0"/>
                  <a:pt x="375" y="0"/>
                </a:cubicBezTo>
                <a:cubicBezTo>
                  <a:pt x="375" y="5"/>
                  <a:pt x="375" y="5"/>
                  <a:pt x="375" y="5"/>
                </a:cubicBezTo>
                <a:cubicBezTo>
                  <a:pt x="1" y="24"/>
                  <a:pt x="1" y="24"/>
                  <a:pt x="1" y="24"/>
                </a:cubicBezTo>
                <a:cubicBezTo>
                  <a:pt x="1" y="24"/>
                  <a:pt x="0" y="35"/>
                  <a:pt x="24" y="35"/>
                </a:cubicBezTo>
                <a:cubicBezTo>
                  <a:pt x="41" y="35"/>
                  <a:pt x="247" y="35"/>
                  <a:pt x="375" y="35"/>
                </a:cubicBezTo>
                <a:cubicBezTo>
                  <a:pt x="435" y="35"/>
                  <a:pt x="478" y="35"/>
                  <a:pt x="478" y="35"/>
                </a:cubicBezTo>
                <a:cubicBezTo>
                  <a:pt x="606" y="35"/>
                  <a:pt x="812" y="35"/>
                  <a:pt x="829" y="35"/>
                </a:cubicBezTo>
                <a:cubicBezTo>
                  <a:pt x="854" y="35"/>
                  <a:pt x="852" y="24"/>
                  <a:pt x="852" y="24"/>
                </a:cubicBezTo>
                <a:close/>
              </a:path>
            </a:pathLst>
          </a:custGeom>
          <a:solidFill>
            <a:srgbClr val="181818"/>
          </a:solidFill>
          <a:ln>
            <a:noFill/>
          </a:ln>
        </p:spPr>
        <p:txBody>
          <a:bodyPr vert="horz" wrap="square" lIns="45702" tIns="22851" rIns="45702" bIns="22851" numCol="1" anchor="t" anchorCtr="0" compatLnSpc="1"/>
          <a:lstStyle/>
          <a:p>
            <a:endParaRPr lang="id-ID" dirty="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22" name="深度视觉·原创设计 https://www.docer.com/works?userid=22383862"/>
          <p:cNvSpPr/>
          <p:nvPr/>
        </p:nvSpPr>
        <p:spPr bwMode="auto">
          <a:xfrm>
            <a:off x="2562955" y="4961001"/>
            <a:ext cx="1447488" cy="500367"/>
          </a:xfrm>
          <a:custGeom>
            <a:avLst/>
            <a:gdLst>
              <a:gd name="T0" fmla="*/ 790 w 861"/>
              <a:gd name="T1" fmla="*/ 274 h 295"/>
              <a:gd name="T2" fmla="*/ 738 w 861"/>
              <a:gd name="T3" fmla="*/ 224 h 295"/>
              <a:gd name="T4" fmla="*/ 714 w 861"/>
              <a:gd name="T5" fmla="*/ 0 h 295"/>
              <a:gd name="T6" fmla="*/ 431 w 861"/>
              <a:gd name="T7" fmla="*/ 4 h 295"/>
              <a:gd name="T8" fmla="*/ 147 w 861"/>
              <a:gd name="T9" fmla="*/ 0 h 295"/>
              <a:gd name="T10" fmla="*/ 124 w 861"/>
              <a:gd name="T11" fmla="*/ 224 h 295"/>
              <a:gd name="T12" fmla="*/ 72 w 861"/>
              <a:gd name="T13" fmla="*/ 274 h 295"/>
              <a:gd name="T14" fmla="*/ 0 w 861"/>
              <a:gd name="T15" fmla="*/ 291 h 295"/>
              <a:gd name="T16" fmla="*/ 0 w 861"/>
              <a:gd name="T17" fmla="*/ 295 h 295"/>
              <a:gd name="T18" fmla="*/ 379 w 861"/>
              <a:gd name="T19" fmla="*/ 295 h 295"/>
              <a:gd name="T20" fmla="*/ 482 w 861"/>
              <a:gd name="T21" fmla="*/ 295 h 295"/>
              <a:gd name="T22" fmla="*/ 861 w 861"/>
              <a:gd name="T23" fmla="*/ 295 h 295"/>
              <a:gd name="T24" fmla="*/ 861 w 861"/>
              <a:gd name="T25" fmla="*/ 291 h 295"/>
              <a:gd name="T26" fmla="*/ 790 w 861"/>
              <a:gd name="T27" fmla="*/ 274 h 2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861" h="295">
                <a:moveTo>
                  <a:pt x="790" y="274"/>
                </a:moveTo>
                <a:cubicBezTo>
                  <a:pt x="760" y="268"/>
                  <a:pt x="744" y="271"/>
                  <a:pt x="738" y="224"/>
                </a:cubicBezTo>
                <a:cubicBezTo>
                  <a:pt x="731" y="177"/>
                  <a:pt x="714" y="0"/>
                  <a:pt x="714" y="0"/>
                </a:cubicBezTo>
                <a:cubicBezTo>
                  <a:pt x="431" y="4"/>
                  <a:pt x="431" y="4"/>
                  <a:pt x="431" y="4"/>
                </a:cubicBezTo>
                <a:cubicBezTo>
                  <a:pt x="147" y="0"/>
                  <a:pt x="147" y="0"/>
                  <a:pt x="147" y="0"/>
                </a:cubicBezTo>
                <a:cubicBezTo>
                  <a:pt x="147" y="0"/>
                  <a:pt x="130" y="177"/>
                  <a:pt x="124" y="224"/>
                </a:cubicBezTo>
                <a:cubicBezTo>
                  <a:pt x="117" y="271"/>
                  <a:pt x="102" y="268"/>
                  <a:pt x="72" y="274"/>
                </a:cubicBezTo>
                <a:cubicBezTo>
                  <a:pt x="42" y="280"/>
                  <a:pt x="0" y="287"/>
                  <a:pt x="0" y="291"/>
                </a:cubicBezTo>
                <a:cubicBezTo>
                  <a:pt x="0" y="295"/>
                  <a:pt x="0" y="295"/>
                  <a:pt x="0" y="295"/>
                </a:cubicBezTo>
                <a:cubicBezTo>
                  <a:pt x="379" y="295"/>
                  <a:pt x="379" y="295"/>
                  <a:pt x="379" y="295"/>
                </a:cubicBezTo>
                <a:cubicBezTo>
                  <a:pt x="482" y="295"/>
                  <a:pt x="482" y="295"/>
                  <a:pt x="482" y="295"/>
                </a:cubicBezTo>
                <a:cubicBezTo>
                  <a:pt x="861" y="295"/>
                  <a:pt x="861" y="295"/>
                  <a:pt x="861" y="295"/>
                </a:cubicBezTo>
                <a:cubicBezTo>
                  <a:pt x="861" y="295"/>
                  <a:pt x="861" y="295"/>
                  <a:pt x="861" y="291"/>
                </a:cubicBezTo>
                <a:cubicBezTo>
                  <a:pt x="861" y="287"/>
                  <a:pt x="820" y="280"/>
                  <a:pt x="790" y="274"/>
                </a:cubicBezTo>
                <a:close/>
              </a:path>
            </a:pathLst>
          </a:custGeom>
          <a:solidFill>
            <a:srgbClr val="D2D3D5"/>
          </a:solidFill>
          <a:ln>
            <a:noFill/>
          </a:ln>
        </p:spPr>
        <p:txBody>
          <a:bodyPr vert="horz" wrap="square" lIns="45702" tIns="22851" rIns="45702" bIns="22851" numCol="1" anchor="t" anchorCtr="0" compatLnSpc="1"/>
          <a:lstStyle/>
          <a:p>
            <a:endParaRPr lang="id-ID" dirty="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23" name="深度视觉·原创设计 https://www.docer.com/works?userid=22383862"/>
          <p:cNvSpPr>
            <a:spLocks noChangeArrowheads="1"/>
          </p:cNvSpPr>
          <p:nvPr/>
        </p:nvSpPr>
        <p:spPr bwMode="auto">
          <a:xfrm>
            <a:off x="3265968" y="2082464"/>
            <a:ext cx="58428" cy="58979"/>
          </a:xfrm>
          <a:prstGeom prst="ellipse">
            <a:avLst/>
          </a:prstGeom>
          <a:solidFill>
            <a:srgbClr val="2C2C2C"/>
          </a:solidFill>
          <a:ln>
            <a:noFill/>
          </a:ln>
        </p:spPr>
        <p:txBody>
          <a:bodyPr vert="horz" wrap="square" lIns="45702" tIns="22851" rIns="45702" bIns="22851" numCol="1" anchor="t" anchorCtr="0" compatLnSpc="1"/>
          <a:lstStyle/>
          <a:p>
            <a:endParaRPr lang="id-ID" dirty="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24" name="深度视觉·原创设计 https://www.docer.com/works?userid=22383862"/>
          <p:cNvSpPr>
            <a:spLocks noChangeArrowheads="1"/>
          </p:cNvSpPr>
          <p:nvPr/>
        </p:nvSpPr>
        <p:spPr bwMode="auto">
          <a:xfrm>
            <a:off x="3265968" y="2078659"/>
            <a:ext cx="58428" cy="58979"/>
          </a:xfrm>
          <a:prstGeom prst="ellipse">
            <a:avLst/>
          </a:prstGeom>
          <a:solidFill>
            <a:srgbClr val="0A0A0A"/>
          </a:solidFill>
          <a:ln>
            <a:noFill/>
          </a:ln>
        </p:spPr>
        <p:txBody>
          <a:bodyPr vert="horz" wrap="square" lIns="45702" tIns="22851" rIns="45702" bIns="22851" numCol="1" anchor="t" anchorCtr="0" compatLnSpc="1"/>
          <a:lstStyle/>
          <a:p>
            <a:endParaRPr lang="id-ID" dirty="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25" name="深度视觉·原创设计 https://www.docer.com/works?userid=22383862"/>
          <p:cNvSpPr>
            <a:spLocks noChangeArrowheads="1"/>
          </p:cNvSpPr>
          <p:nvPr/>
        </p:nvSpPr>
        <p:spPr bwMode="auto">
          <a:xfrm>
            <a:off x="3275391" y="2088173"/>
            <a:ext cx="39580" cy="38051"/>
          </a:xfrm>
          <a:prstGeom prst="ellipse">
            <a:avLst/>
          </a:prstGeom>
          <a:solidFill>
            <a:srgbClr val="000000"/>
          </a:solidFill>
          <a:ln>
            <a:noFill/>
          </a:ln>
        </p:spPr>
        <p:txBody>
          <a:bodyPr vert="horz" wrap="square" lIns="45702" tIns="22851" rIns="45702" bIns="22851" numCol="1" anchor="t" anchorCtr="0" compatLnSpc="1"/>
          <a:lstStyle/>
          <a:p>
            <a:endParaRPr lang="id-ID" dirty="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26" name="深度视觉·原创设计 https://www.docer.com/works?userid=22383862"/>
          <p:cNvSpPr>
            <a:spLocks noChangeArrowheads="1"/>
          </p:cNvSpPr>
          <p:nvPr/>
        </p:nvSpPr>
        <p:spPr bwMode="auto">
          <a:xfrm>
            <a:off x="3286699" y="2095783"/>
            <a:ext cx="18847" cy="22830"/>
          </a:xfrm>
          <a:prstGeom prst="ellipse">
            <a:avLst/>
          </a:prstGeom>
          <a:solidFill>
            <a:srgbClr val="2C99B4"/>
          </a:solidFill>
          <a:ln>
            <a:noFill/>
          </a:ln>
        </p:spPr>
        <p:txBody>
          <a:bodyPr vert="horz" wrap="square" lIns="45702" tIns="22851" rIns="45702" bIns="22851" numCol="1" anchor="t" anchorCtr="0" compatLnSpc="1"/>
          <a:lstStyle/>
          <a:p>
            <a:endParaRPr lang="id-ID" dirty="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27" name="深度视觉·原创设计 https://www.docer.com/works?userid=22383862"/>
          <p:cNvSpPr>
            <a:spLocks noChangeArrowheads="1"/>
          </p:cNvSpPr>
          <p:nvPr/>
        </p:nvSpPr>
        <p:spPr bwMode="auto">
          <a:xfrm>
            <a:off x="3292354" y="2105295"/>
            <a:ext cx="5655" cy="5708"/>
          </a:xfrm>
          <a:prstGeom prst="ellipse">
            <a:avLst/>
          </a:prstGeom>
          <a:solidFill>
            <a:srgbClr val="FFFFFF"/>
          </a:solidFill>
          <a:ln>
            <a:noFill/>
          </a:ln>
        </p:spPr>
        <p:txBody>
          <a:bodyPr vert="horz" wrap="square" lIns="45702" tIns="22851" rIns="45702" bIns="22851" numCol="1" anchor="t" anchorCtr="0" compatLnSpc="1"/>
          <a:lstStyle/>
          <a:p>
            <a:endParaRPr lang="id-ID" dirty="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28" name="深度视觉·原创设计 https://www.docer.com/works?userid=22383862"/>
          <p:cNvSpPr/>
          <p:nvPr/>
        </p:nvSpPr>
        <p:spPr bwMode="auto">
          <a:xfrm>
            <a:off x="2562955" y="4961001"/>
            <a:ext cx="1170430" cy="500367"/>
          </a:xfrm>
          <a:custGeom>
            <a:avLst/>
            <a:gdLst>
              <a:gd name="T0" fmla="*/ 696 w 696"/>
              <a:gd name="T1" fmla="*/ 10 h 295"/>
              <a:gd name="T2" fmla="*/ 573 w 696"/>
              <a:gd name="T3" fmla="*/ 2 h 295"/>
              <a:gd name="T4" fmla="*/ 431 w 696"/>
              <a:gd name="T5" fmla="*/ 4 h 295"/>
              <a:gd name="T6" fmla="*/ 147 w 696"/>
              <a:gd name="T7" fmla="*/ 0 h 295"/>
              <a:gd name="T8" fmla="*/ 124 w 696"/>
              <a:gd name="T9" fmla="*/ 224 h 295"/>
              <a:gd name="T10" fmla="*/ 72 w 696"/>
              <a:gd name="T11" fmla="*/ 274 h 295"/>
              <a:gd name="T12" fmla="*/ 0 w 696"/>
              <a:gd name="T13" fmla="*/ 291 h 295"/>
              <a:gd name="T14" fmla="*/ 0 w 696"/>
              <a:gd name="T15" fmla="*/ 295 h 295"/>
              <a:gd name="T16" fmla="*/ 379 w 696"/>
              <a:gd name="T17" fmla="*/ 295 h 295"/>
              <a:gd name="T18" fmla="*/ 432 w 696"/>
              <a:gd name="T19" fmla="*/ 295 h 295"/>
              <a:gd name="T20" fmla="*/ 696 w 696"/>
              <a:gd name="T21" fmla="*/ 10 h 2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696" h="295">
                <a:moveTo>
                  <a:pt x="696" y="10"/>
                </a:moveTo>
                <a:cubicBezTo>
                  <a:pt x="573" y="2"/>
                  <a:pt x="573" y="2"/>
                  <a:pt x="573" y="2"/>
                </a:cubicBezTo>
                <a:cubicBezTo>
                  <a:pt x="431" y="4"/>
                  <a:pt x="431" y="4"/>
                  <a:pt x="431" y="4"/>
                </a:cubicBezTo>
                <a:cubicBezTo>
                  <a:pt x="147" y="0"/>
                  <a:pt x="147" y="0"/>
                  <a:pt x="147" y="0"/>
                </a:cubicBezTo>
                <a:cubicBezTo>
                  <a:pt x="147" y="0"/>
                  <a:pt x="130" y="177"/>
                  <a:pt x="124" y="224"/>
                </a:cubicBezTo>
                <a:cubicBezTo>
                  <a:pt x="117" y="271"/>
                  <a:pt x="102" y="268"/>
                  <a:pt x="72" y="274"/>
                </a:cubicBezTo>
                <a:cubicBezTo>
                  <a:pt x="42" y="280"/>
                  <a:pt x="0" y="287"/>
                  <a:pt x="0" y="291"/>
                </a:cubicBezTo>
                <a:cubicBezTo>
                  <a:pt x="0" y="295"/>
                  <a:pt x="0" y="295"/>
                  <a:pt x="0" y="295"/>
                </a:cubicBezTo>
                <a:cubicBezTo>
                  <a:pt x="379" y="295"/>
                  <a:pt x="379" y="295"/>
                  <a:pt x="379" y="295"/>
                </a:cubicBezTo>
                <a:cubicBezTo>
                  <a:pt x="432" y="295"/>
                  <a:pt x="432" y="295"/>
                  <a:pt x="432" y="295"/>
                </a:cubicBezTo>
                <a:lnTo>
                  <a:pt x="696" y="10"/>
                </a:lnTo>
                <a:close/>
              </a:path>
            </a:pathLst>
          </a:custGeom>
          <a:solidFill>
            <a:srgbClr val="A8A9AA"/>
          </a:solidFill>
          <a:ln>
            <a:noFill/>
          </a:ln>
        </p:spPr>
        <p:txBody>
          <a:bodyPr vert="horz" wrap="square" lIns="45702" tIns="22851" rIns="45702" bIns="22851" numCol="1" anchor="t" anchorCtr="0" compatLnSpc="1"/>
          <a:lstStyle/>
          <a:p>
            <a:endParaRPr lang="id-ID" dirty="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29" name="深度视觉·原创设计 https://www.docer.com/works?userid=22383862"/>
          <p:cNvSpPr/>
          <p:nvPr/>
        </p:nvSpPr>
        <p:spPr bwMode="auto">
          <a:xfrm>
            <a:off x="1164471" y="4610934"/>
            <a:ext cx="4261420" cy="409046"/>
          </a:xfrm>
          <a:custGeom>
            <a:avLst/>
            <a:gdLst>
              <a:gd name="T0" fmla="*/ 0 w 2537"/>
              <a:gd name="T1" fmla="*/ 0 h 241"/>
              <a:gd name="T2" fmla="*/ 0 w 2537"/>
              <a:gd name="T3" fmla="*/ 170 h 241"/>
              <a:gd name="T4" fmla="*/ 71 w 2537"/>
              <a:gd name="T5" fmla="*/ 241 h 241"/>
              <a:gd name="T6" fmla="*/ 2467 w 2537"/>
              <a:gd name="T7" fmla="*/ 241 h 241"/>
              <a:gd name="T8" fmla="*/ 2537 w 2537"/>
              <a:gd name="T9" fmla="*/ 170 h 241"/>
              <a:gd name="T10" fmla="*/ 2537 w 2537"/>
              <a:gd name="T11" fmla="*/ 0 h 241"/>
              <a:gd name="T12" fmla="*/ 0 w 2537"/>
              <a:gd name="T13" fmla="*/ 0 h 2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537" h="241">
                <a:moveTo>
                  <a:pt x="0" y="0"/>
                </a:moveTo>
                <a:cubicBezTo>
                  <a:pt x="0" y="170"/>
                  <a:pt x="0" y="170"/>
                  <a:pt x="0" y="170"/>
                </a:cubicBezTo>
                <a:cubicBezTo>
                  <a:pt x="0" y="209"/>
                  <a:pt x="32" y="241"/>
                  <a:pt x="71" y="241"/>
                </a:cubicBezTo>
                <a:cubicBezTo>
                  <a:pt x="2467" y="241"/>
                  <a:pt x="2467" y="241"/>
                  <a:pt x="2467" y="241"/>
                </a:cubicBezTo>
                <a:cubicBezTo>
                  <a:pt x="2506" y="241"/>
                  <a:pt x="2537" y="209"/>
                  <a:pt x="2537" y="170"/>
                </a:cubicBezTo>
                <a:cubicBezTo>
                  <a:pt x="2537" y="0"/>
                  <a:pt x="2537" y="0"/>
                  <a:pt x="2537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D2D3D5"/>
          </a:solidFill>
          <a:ln>
            <a:noFill/>
          </a:ln>
        </p:spPr>
        <p:txBody>
          <a:bodyPr vert="horz" wrap="square" lIns="45702" tIns="22851" rIns="45702" bIns="22851" numCol="1" anchor="t" anchorCtr="0" compatLnSpc="1"/>
          <a:lstStyle/>
          <a:p>
            <a:endParaRPr lang="id-ID" dirty="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30" name="深度视觉·原创设计 https://www.docer.com/works?userid=22383862"/>
          <p:cNvSpPr/>
          <p:nvPr/>
        </p:nvSpPr>
        <p:spPr>
          <a:xfrm>
            <a:off x="2873935" y="6516564"/>
            <a:ext cx="6444130" cy="35006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25395" tIns="25395" rIns="25395" bIns="25395" anchor="ctr"/>
          <a:lstStyle/>
          <a:p>
            <a:pPr defTabSz="228600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Source Sans Pro Light"/>
                <a:ea typeface="Source Sans Pro Light"/>
                <a:cs typeface="Source Sans Pro Light"/>
                <a:sym typeface="Source Sans Pro Light"/>
              </a:defRPr>
            </a:pPr>
            <a:endParaRPr sz="300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深度视觉·原创设计 https://www.docer.com/works?userid=22383862"/>
          <p:cNvSpPr/>
          <p:nvPr/>
        </p:nvSpPr>
        <p:spPr>
          <a:xfrm flipH="1">
            <a:off x="11252019" y="5989229"/>
            <a:ext cx="939981" cy="868771"/>
          </a:xfrm>
          <a:prstGeom prst="corner">
            <a:avLst>
              <a:gd name="adj1" fmla="val 17397"/>
              <a:gd name="adj2" fmla="val 16614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22" name="深度视觉·原创设计 https://www.docer.com/works?userid=22383862"/>
          <p:cNvSpPr/>
          <p:nvPr/>
        </p:nvSpPr>
        <p:spPr>
          <a:xfrm rot="10800000" flipH="1">
            <a:off x="0" y="0"/>
            <a:ext cx="939981" cy="868771"/>
          </a:xfrm>
          <a:prstGeom prst="corner">
            <a:avLst>
              <a:gd name="adj1" fmla="val 17397"/>
              <a:gd name="adj2" fmla="val 16614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2" name="深度视觉·原创设计 https://www.docer.com/works?userid=22383862"/>
          <p:cNvSpPr/>
          <p:nvPr/>
        </p:nvSpPr>
        <p:spPr>
          <a:xfrm>
            <a:off x="1588" y="0"/>
            <a:ext cx="4486184" cy="6858000"/>
          </a:xfrm>
          <a:prstGeom prst="rect">
            <a:avLst/>
          </a:prstGeom>
          <a:blipFill>
            <a:blip r:embed="rId1"/>
            <a:stretch>
              <a:fillRect l="-957" r="-957"/>
            </a:stretch>
          </a:blipFill>
          <a:ln w="127000">
            <a:noFill/>
          </a:ln>
          <a:effectLst>
            <a:outerShdw blurRad="977900" dist="635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45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3" name="深度视觉·原创设计 https://www.docer.com/works?userid=22383862"/>
          <p:cNvSpPr/>
          <p:nvPr/>
        </p:nvSpPr>
        <p:spPr>
          <a:xfrm>
            <a:off x="0" y="0"/>
            <a:ext cx="4486184" cy="6858000"/>
          </a:xfrm>
          <a:prstGeom prst="rect">
            <a:avLst/>
          </a:prstGeom>
          <a:blipFill dpi="0" rotWithShape="1">
            <a:blip r:embed="rId2">
              <a:alphaModFix amt="15000"/>
            </a:blip>
            <a:srcRect/>
            <a:stretch>
              <a:fillRect t="-7738" b="-7738"/>
            </a:stretch>
          </a:blipFill>
          <a:ln w="127000">
            <a:noFill/>
          </a:ln>
          <a:effectLst>
            <a:outerShdw blurRad="977900" dist="635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45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4" name="深度视觉·原创设计 https://www.docer.com/works?userid=22383862"/>
          <p:cNvSpPr/>
          <p:nvPr/>
        </p:nvSpPr>
        <p:spPr>
          <a:xfrm rot="4257846">
            <a:off x="5644679" y="1887318"/>
            <a:ext cx="3059837" cy="3060634"/>
          </a:xfrm>
          <a:prstGeom prst="pie">
            <a:avLst>
              <a:gd name="adj1" fmla="val 15318940"/>
              <a:gd name="adj2" fmla="val 18425069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2" tIns="45711" rIns="91422" bIns="45711" rtlCol="0" anchor="ctr"/>
          <a:lstStyle/>
          <a:p>
            <a:pPr algn="ctr"/>
            <a:endParaRPr lang="en-US" sz="3200">
              <a:solidFill>
                <a:schemeClr val="bg1"/>
              </a:solidFill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5" name="深度视觉·原创设计 https://www.docer.com/works?userid=22383862"/>
          <p:cNvSpPr/>
          <p:nvPr/>
        </p:nvSpPr>
        <p:spPr>
          <a:xfrm>
            <a:off x="5644679" y="1887318"/>
            <a:ext cx="3059837" cy="3060634"/>
          </a:xfrm>
          <a:prstGeom prst="pie">
            <a:avLst>
              <a:gd name="adj1" fmla="val 9714429"/>
              <a:gd name="adj2" fmla="val 14336461"/>
            </a:avLst>
          </a:prstGeom>
          <a:solidFill>
            <a:schemeClr val="tx1">
              <a:alpha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2" tIns="45711" rIns="91422" bIns="45711" rtlCol="0" anchor="ctr"/>
          <a:lstStyle/>
          <a:p>
            <a:pPr algn="ctr"/>
            <a:endParaRPr lang="en-US" sz="3200">
              <a:solidFill>
                <a:schemeClr val="tx1"/>
              </a:solidFill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6" name="深度视觉·原创设计 https://www.docer.com/works?userid=22383862"/>
          <p:cNvSpPr/>
          <p:nvPr/>
        </p:nvSpPr>
        <p:spPr>
          <a:xfrm>
            <a:off x="5644679" y="1887318"/>
            <a:ext cx="3059837" cy="3060634"/>
          </a:xfrm>
          <a:prstGeom prst="pie">
            <a:avLst>
              <a:gd name="adj1" fmla="val 4322855"/>
              <a:gd name="adj2" fmla="val 8719698"/>
            </a:avLst>
          </a:prstGeom>
          <a:solidFill>
            <a:schemeClr val="tx1">
              <a:alpha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2" tIns="45711" rIns="91422" bIns="45711" rtlCol="0" anchor="ctr"/>
          <a:lstStyle/>
          <a:p>
            <a:pPr algn="ctr"/>
            <a:endParaRPr lang="en-US" sz="3200">
              <a:solidFill>
                <a:schemeClr val="tx1"/>
              </a:solidFill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7" name="深度视觉·原创设计 https://www.docer.com/works?userid=22383862"/>
          <p:cNvSpPr/>
          <p:nvPr/>
        </p:nvSpPr>
        <p:spPr>
          <a:xfrm>
            <a:off x="5644679" y="1887318"/>
            <a:ext cx="3059837" cy="3060634"/>
          </a:xfrm>
          <a:prstGeom prst="pie">
            <a:avLst>
              <a:gd name="adj1" fmla="val 15377100"/>
              <a:gd name="adj2" fmla="val 18734050"/>
            </a:avLst>
          </a:prstGeom>
          <a:solidFill>
            <a:schemeClr val="tx1">
              <a:alpha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2" tIns="45711" rIns="91422" bIns="45711" rtlCol="0" anchor="ctr"/>
          <a:lstStyle/>
          <a:p>
            <a:pPr algn="ctr"/>
            <a:endParaRPr lang="en-US" sz="3200">
              <a:solidFill>
                <a:schemeClr val="tx1"/>
              </a:solidFill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8" name="深度视觉·原创设计 https://www.docer.com/works?userid=22383862"/>
          <p:cNvSpPr/>
          <p:nvPr/>
        </p:nvSpPr>
        <p:spPr>
          <a:xfrm>
            <a:off x="5977764" y="2220490"/>
            <a:ext cx="2393668" cy="2394292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2" tIns="45711" rIns="91422" bIns="45711" rtlCol="0" anchor="ctr"/>
          <a:lstStyle/>
          <a:p>
            <a:pPr algn="ctr"/>
            <a:endParaRPr lang="en-US" sz="3200">
              <a:solidFill>
                <a:schemeClr val="tx1"/>
              </a:solidFill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9" name="深度视觉·原创设计 https://www.docer.com/works?userid=22383862"/>
          <p:cNvSpPr/>
          <p:nvPr/>
        </p:nvSpPr>
        <p:spPr>
          <a:xfrm>
            <a:off x="9910353" y="4389465"/>
            <a:ext cx="191730" cy="191730"/>
          </a:xfrm>
          <a:prstGeom prst="ellipse">
            <a:avLst/>
          </a:prstGeom>
          <a:solidFill>
            <a:schemeClr val="tx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45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10" name="深度视觉·原创设计 https://www.docer.com/works?userid=22383862"/>
          <p:cNvSpPr/>
          <p:nvPr/>
        </p:nvSpPr>
        <p:spPr>
          <a:xfrm>
            <a:off x="9910353" y="2628784"/>
            <a:ext cx="191730" cy="19173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45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11" name="深度视觉·原创设计 https://www.docer.com/works?userid=22383862"/>
          <p:cNvSpPr/>
          <p:nvPr/>
        </p:nvSpPr>
        <p:spPr>
          <a:xfrm>
            <a:off x="9908107" y="3814354"/>
            <a:ext cx="191730" cy="19173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45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12" name="深度视觉·原创设计 https://www.docer.com/works?userid=22383862"/>
          <p:cNvSpPr/>
          <p:nvPr/>
        </p:nvSpPr>
        <p:spPr>
          <a:xfrm>
            <a:off x="9910353" y="3213030"/>
            <a:ext cx="191730" cy="19173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45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13" name="深度视觉·原创设计 https://www.docer.com/works?userid=22383862"/>
          <p:cNvSpPr/>
          <p:nvPr/>
        </p:nvSpPr>
        <p:spPr>
          <a:xfrm>
            <a:off x="6143915" y="2397566"/>
            <a:ext cx="2061363" cy="2061364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977900" dist="635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45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14" name="深度视觉·原创设计 https://www.docer.com/works?userid=22383862"/>
          <p:cNvSpPr/>
          <p:nvPr/>
        </p:nvSpPr>
        <p:spPr>
          <a:xfrm>
            <a:off x="6879087" y="3152368"/>
            <a:ext cx="590688" cy="517529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  <a:effectLst/>
        </p:spPr>
        <p:txBody>
          <a:bodyPr lIns="45713" tIns="22850" rIns="45713" bIns="22850" anchor="ctr" anchorCtr="0">
            <a:noAutofit/>
          </a:bodyPr>
          <a:lstStyle/>
          <a:p>
            <a:endParaRPr sz="450">
              <a:solidFill>
                <a:schemeClr val="bg2">
                  <a:lumMod val="50000"/>
                </a:schemeClr>
              </a:solidFill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17" name="深度视觉·原创设计 https://www.docer.com/works?userid=22383862"/>
          <p:cNvSpPr/>
          <p:nvPr/>
        </p:nvSpPr>
        <p:spPr>
          <a:xfrm>
            <a:off x="10186990" y="2562315"/>
            <a:ext cx="141043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400" b="1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汉仪正圆-55W" panose="00020600040101010101" pitchFamily="18" charset="-122"/>
                <a:ea typeface="汉仪正圆-55W" panose="00020600040101010101" pitchFamily="18" charset="-122"/>
                <a:cs typeface="Open Sans" pitchFamily="34" charset="0"/>
                <a:sym typeface="汉仪正圆-55W" panose="00020600040101010101" pitchFamily="18" charset="-122"/>
              </a:rPr>
              <a:t>添加标题 </a:t>
            </a:r>
            <a:r>
              <a:rPr lang="en-US" altLang="zh-CN" sz="1400" b="1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汉仪正圆-55W" panose="00020600040101010101" pitchFamily="18" charset="-122"/>
                <a:ea typeface="汉仪正圆-55W" panose="00020600040101010101" pitchFamily="18" charset="-122"/>
                <a:cs typeface="Open Sans" pitchFamily="34" charset="0"/>
                <a:sym typeface="汉仪正圆-55W" panose="00020600040101010101" pitchFamily="18" charset="-122"/>
              </a:rPr>
              <a:t>01</a:t>
            </a:r>
            <a:endParaRPr kumimoji="0" lang="zh-CN" altLang="en-US" sz="1400" b="1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汉仪正圆-55W" panose="00020600040101010101" pitchFamily="18" charset="-122"/>
              <a:ea typeface="汉仪正圆-55W" panose="00020600040101010101" pitchFamily="18" charset="-122"/>
              <a:cs typeface="Open Sans" pitchFamily="34" charset="0"/>
              <a:sym typeface="汉仪正圆-55W" panose="00020600040101010101" pitchFamily="18" charset="-122"/>
            </a:endParaRPr>
          </a:p>
        </p:txBody>
      </p:sp>
      <p:sp>
        <p:nvSpPr>
          <p:cNvPr id="18" name="深度视觉·原创设计 https://www.docer.com/works?userid=22383862"/>
          <p:cNvSpPr/>
          <p:nvPr/>
        </p:nvSpPr>
        <p:spPr>
          <a:xfrm>
            <a:off x="10186990" y="3155006"/>
            <a:ext cx="141043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400" b="1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汉仪正圆-55W" panose="00020600040101010101" pitchFamily="18" charset="-122"/>
                <a:ea typeface="汉仪正圆-55W" panose="00020600040101010101" pitchFamily="18" charset="-122"/>
                <a:cs typeface="Open Sans" pitchFamily="34" charset="0"/>
                <a:sym typeface="汉仪正圆-55W" panose="00020600040101010101" pitchFamily="18" charset="-122"/>
              </a:rPr>
              <a:t>添加标题 </a:t>
            </a:r>
            <a:r>
              <a:rPr lang="en-US" altLang="zh-CN" sz="1400" b="1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汉仪正圆-55W" panose="00020600040101010101" pitchFamily="18" charset="-122"/>
                <a:ea typeface="汉仪正圆-55W" panose="00020600040101010101" pitchFamily="18" charset="-122"/>
                <a:cs typeface="Open Sans" pitchFamily="34" charset="0"/>
                <a:sym typeface="汉仪正圆-55W" panose="00020600040101010101" pitchFamily="18" charset="-122"/>
              </a:rPr>
              <a:t>02</a:t>
            </a:r>
            <a:endParaRPr kumimoji="0" lang="zh-CN" altLang="en-US" sz="1400" b="1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汉仪正圆-55W" panose="00020600040101010101" pitchFamily="18" charset="-122"/>
              <a:ea typeface="汉仪正圆-55W" panose="00020600040101010101" pitchFamily="18" charset="-122"/>
              <a:cs typeface="Open Sans" pitchFamily="34" charset="0"/>
              <a:sym typeface="汉仪正圆-55W" panose="00020600040101010101" pitchFamily="18" charset="-122"/>
            </a:endParaRPr>
          </a:p>
        </p:txBody>
      </p:sp>
      <p:sp>
        <p:nvSpPr>
          <p:cNvPr id="19" name="深度视觉·原创设计 https://www.docer.com/works?userid=22383862"/>
          <p:cNvSpPr/>
          <p:nvPr/>
        </p:nvSpPr>
        <p:spPr>
          <a:xfrm>
            <a:off x="10186990" y="3756330"/>
            <a:ext cx="141043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400" b="1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汉仪正圆-55W" panose="00020600040101010101" pitchFamily="18" charset="-122"/>
                <a:ea typeface="汉仪正圆-55W" panose="00020600040101010101" pitchFamily="18" charset="-122"/>
                <a:cs typeface="Open Sans" pitchFamily="34" charset="0"/>
                <a:sym typeface="汉仪正圆-55W" panose="00020600040101010101" pitchFamily="18" charset="-122"/>
              </a:rPr>
              <a:t>添加标题 </a:t>
            </a:r>
            <a:r>
              <a:rPr lang="en-US" altLang="zh-CN" sz="1400" b="1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汉仪正圆-55W" panose="00020600040101010101" pitchFamily="18" charset="-122"/>
                <a:ea typeface="汉仪正圆-55W" panose="00020600040101010101" pitchFamily="18" charset="-122"/>
                <a:cs typeface="Open Sans" pitchFamily="34" charset="0"/>
                <a:sym typeface="汉仪正圆-55W" panose="00020600040101010101" pitchFamily="18" charset="-122"/>
              </a:rPr>
              <a:t>03</a:t>
            </a:r>
            <a:endParaRPr kumimoji="0" lang="zh-CN" altLang="en-US" sz="1400" b="1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汉仪正圆-55W" panose="00020600040101010101" pitchFamily="18" charset="-122"/>
              <a:ea typeface="汉仪正圆-55W" panose="00020600040101010101" pitchFamily="18" charset="-122"/>
              <a:cs typeface="Open Sans" pitchFamily="34" charset="0"/>
              <a:sym typeface="汉仪正圆-55W" panose="00020600040101010101" pitchFamily="18" charset="-122"/>
            </a:endParaRPr>
          </a:p>
        </p:txBody>
      </p:sp>
      <p:sp>
        <p:nvSpPr>
          <p:cNvPr id="20" name="深度视觉·原创设计 https://www.docer.com/works?userid=22383862"/>
          <p:cNvSpPr/>
          <p:nvPr/>
        </p:nvSpPr>
        <p:spPr>
          <a:xfrm>
            <a:off x="10186990" y="4331441"/>
            <a:ext cx="141043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400" b="1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汉仪正圆-55W" panose="00020600040101010101" pitchFamily="18" charset="-122"/>
                <a:ea typeface="汉仪正圆-55W" panose="00020600040101010101" pitchFamily="18" charset="-122"/>
                <a:cs typeface="Open Sans" pitchFamily="34" charset="0"/>
                <a:sym typeface="汉仪正圆-55W" panose="00020600040101010101" pitchFamily="18" charset="-122"/>
              </a:rPr>
              <a:t>添加标题 </a:t>
            </a:r>
            <a:r>
              <a:rPr lang="en-US" altLang="zh-CN" sz="1400" b="1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汉仪正圆-55W" panose="00020600040101010101" pitchFamily="18" charset="-122"/>
                <a:ea typeface="汉仪正圆-55W" panose="00020600040101010101" pitchFamily="18" charset="-122"/>
                <a:cs typeface="Open Sans" pitchFamily="34" charset="0"/>
                <a:sym typeface="汉仪正圆-55W" panose="00020600040101010101" pitchFamily="18" charset="-122"/>
              </a:rPr>
              <a:t>04</a:t>
            </a:r>
            <a:endParaRPr kumimoji="0" lang="zh-CN" altLang="en-US" sz="1400" b="1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汉仪正圆-55W" panose="00020600040101010101" pitchFamily="18" charset="-122"/>
              <a:ea typeface="汉仪正圆-55W" panose="00020600040101010101" pitchFamily="18" charset="-122"/>
              <a:cs typeface="Open Sans" pitchFamily="34" charset="0"/>
              <a:sym typeface="汉仪正圆-55W" panose="00020600040101010101" pitchFamily="18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  <p:bldP spid="18" grpId="0"/>
      <p:bldP spid="19" grpId="0"/>
      <p:bldP spid="20" grpId="0"/>
    </p:bldLst>
  </p:timing>
</p:sld>
</file>

<file path=ppt/tags/tag1.xml><?xml version="1.0" encoding="utf-8"?>
<p:tagLst xmlns:p="http://schemas.openxmlformats.org/presentationml/2006/main">
  <p:tag name="THINKCELLSHAPEDONOTDELETE" val="puVkaf7fLpUqy5EXObxpMRQ"/>
</p:tagLst>
</file>

<file path=ppt/tags/tag2.xml><?xml version="1.0" encoding="utf-8"?>
<p:tagLst xmlns:p="http://schemas.openxmlformats.org/presentationml/2006/main">
  <p:tag name="THINKCELLSHAPEDONOTDELETE" val="puVkaf7fLpUqy5EXObxpMRQ"/>
</p:tagLst>
</file>

<file path=ppt/theme/theme1.xml><?xml version="1.0" encoding="utf-8"?>
<a:theme xmlns:a="http://schemas.openxmlformats.org/drawingml/2006/main" name="Office 主题​​">
  <a:themeElements>
    <a:clrScheme name="自定义 20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00265D"/>
      </a:accent1>
      <a:accent2>
        <a:srgbClr val="FEB728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017</Words>
  <Application>WPS 演示</Application>
  <PresentationFormat>宽屏</PresentationFormat>
  <Paragraphs>329</Paragraphs>
  <Slides>21</Slides>
  <Notes>1</Notes>
  <HiddenSlides>1</HiddenSlides>
  <MMClips>0</MMClips>
  <ScaleCrop>false</ScaleCrop>
  <HeadingPairs>
    <vt:vector size="6" baseType="variant">
      <vt:variant>
        <vt:lpstr>已用的字体</vt:lpstr>
      </vt:variant>
      <vt:variant>
        <vt:i4>33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21</vt:i4>
      </vt:variant>
    </vt:vector>
  </HeadingPairs>
  <TitlesOfParts>
    <vt:vector size="55" baseType="lpstr">
      <vt:lpstr>Arial</vt:lpstr>
      <vt:lpstr>宋体</vt:lpstr>
      <vt:lpstr>Wingdings</vt:lpstr>
      <vt:lpstr>汉仪正圆-55W</vt:lpstr>
      <vt:lpstr>阿里巴巴普惠体 Light</vt:lpstr>
      <vt:lpstr>Alibaba PuHuiTi</vt:lpstr>
      <vt:lpstr>Lato</vt:lpstr>
      <vt:lpstr>Open Sans</vt:lpstr>
      <vt:lpstr>Calibri</vt:lpstr>
      <vt:lpstr>Lato</vt:lpstr>
      <vt:lpstr>Segoe Print</vt:lpstr>
      <vt:lpstr>Open Sans Light</vt:lpstr>
      <vt:lpstr>Lato Semibold</vt:lpstr>
      <vt:lpstr>Calibri</vt:lpstr>
      <vt:lpstr>Source Sans Pro Light</vt:lpstr>
      <vt:lpstr>微软雅黑</vt:lpstr>
      <vt:lpstr>Arial Unicode MS</vt:lpstr>
      <vt:lpstr>等线 Light</vt:lpstr>
      <vt:lpstr>等线</vt:lpstr>
      <vt:lpstr>Helvetica Light</vt:lpstr>
      <vt:lpstr>Gill Sans</vt:lpstr>
      <vt:lpstr>Source Sans Pro Light</vt:lpstr>
      <vt:lpstr>Roboto Light</vt:lpstr>
      <vt:lpstr>Roboto Black</vt:lpstr>
      <vt:lpstr>MS PGothic</vt:lpstr>
      <vt:lpstr>汉仪书魂体简</vt:lpstr>
      <vt:lpstr>Microsoft YaHei Bold</vt:lpstr>
      <vt:lpstr>思源黑体 CN Regular</vt:lpstr>
      <vt:lpstr>思源黑体 CN Regular</vt:lpstr>
      <vt:lpstr>思源黑体 CN Bold</vt:lpstr>
      <vt:lpstr>Wide Latin</vt:lpstr>
      <vt:lpstr>黑体</vt:lpstr>
      <vt:lpstr>Gill Sans MT</vt:lpstr>
      <vt:lpstr>Office 主题​​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Microsoft Office User</dc:creator>
  <cp:lastModifiedBy>彭</cp:lastModifiedBy>
  <cp:revision>9</cp:revision>
  <dcterms:created xsi:type="dcterms:W3CDTF">2022-05-31T06:39:00Z</dcterms:created>
  <dcterms:modified xsi:type="dcterms:W3CDTF">2024-08-30T14:43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2.1.0.16120</vt:lpwstr>
  </property>
  <property fmtid="{D5CDD505-2E9C-101B-9397-08002B2CF9AE}" pid="3" name="KSOTemplateUUID">
    <vt:lpwstr>v1.0_mb_Jmb9RG/n/BRcF2ta8XUeyA==</vt:lpwstr>
  </property>
  <property fmtid="{D5CDD505-2E9C-101B-9397-08002B2CF9AE}" pid="4" name="ICV">
    <vt:lpwstr>A18782AC67DE4ECEA617A8A3F3CFF460_11</vt:lpwstr>
  </property>
</Properties>
</file>